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48.xml" ContentType="application/vnd.openxmlformats-officedocument.presentationml.tags+xml"/>
  <Override PartName="/ppt/notesSlides/notesSlide2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3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725" r:id="rId6"/>
  </p:sldMasterIdLst>
  <p:notesMasterIdLst>
    <p:notesMasterId r:id="rId14"/>
  </p:notesMasterIdLst>
  <p:sldIdLst>
    <p:sldId id="2147480428" r:id="rId7"/>
    <p:sldId id="2147480449" r:id="rId8"/>
    <p:sldId id="2147479950" r:id="rId9"/>
    <p:sldId id="2147479981" r:id="rId10"/>
    <p:sldId id="2147480454" r:id="rId11"/>
    <p:sldId id="2147480455" r:id="rId12"/>
    <p:sldId id="2147480453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2BD307-32EB-916E-FD6F-1845B4F62C5A}" name="Jiwani, Sahil (CDC/DDPHSS/OD) (CTR)" initials="JS((" userId="S::ubw3@cdc.gov::36979ee3-d108-44a0-9f87-1b615dc81683" providerId="AD"/>
  <p188:author id="{A976315B-14D0-332D-F355-68FE76F404BA}" name="Fay, Taylor (CDC/DDPHSS/OD) (CTR)" initials="F(" userId="S::uog6@cdc.gov::c622571b-4f02-4950-8906-006a29f9497d" providerId="AD"/>
  <p188:author id="{380A6B8D-7342-E736-E76E-6499E5FD7F57}" name="Sargent, Aryn (CDC/DDPHSS/OD) (CTR)" initials="S(" userId="S::tny8@cdc.gov::d69ab2df-90f7-49a9-a41f-dbae54c0144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D8CD5"/>
    <a:srgbClr val="BCDFFF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B07532-F2DA-4065-BB96-9EBFDA96C0F8}" vWet="2" dt="2023-08-31T13:08:18.784"/>
    <p1510:client id="{1CA40079-6CF2-41EF-AA3B-21EE97A0C4E1}" v="29" vWet="30" dt="2023-08-31T16:12:26.681"/>
    <p1510:client id="{28207361-72CA-48D2-A117-C44392DCDC18}" v="1727" vWet="1729" dt="2023-08-31T18:16:30.575"/>
    <p1510:client id="{3E872468-4133-4629-9647-3CD78D77D721}" v="16" dt="2023-08-30T18:54:41.074"/>
    <p1510:client id="{705E2BEE-B3D8-436B-9B20-3BA89F76AA29}" v="98" dt="2023-08-31T12:42:29.403"/>
    <p1510:client id="{851F55CE-0459-07BD-E617-9CCC5507F68B}" v="21" dt="2023-08-31T14:47:35.700"/>
    <p1510:client id="{9341A7ED-CD6C-436D-95DB-EEEE4649128C}" v="106" vWet="108" dt="2023-08-31T15:54:16.535"/>
    <p1510:client id="{BB2EB49B-E7BE-27C6-5A2E-92449A5BEFCA}" v="40" dt="2023-08-31T18:17:29.288"/>
    <p1510:client id="{EA0CD6FF-BF5C-4E14-917D-4EAA44BC6237}" v="3" dt="2023-08-31T12:53:19.693"/>
    <p1510:client id="{F0D8123F-90F8-4309-745C-94FC1832FBC0}" v="351" dt="2023-08-31T15:25:02.0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ay, Taylor (CDC/DDPHSS/OD) (CTR)" userId="S::uog6@cdc.gov::c622571b-4f02-4950-8906-006a29f9497d" providerId="AD" clId="Web-{705E2BEE-B3D8-436B-9B20-3BA89F76AA29}"/>
    <pc:docChg chg="addSld modSld">
      <pc:chgData name="Fay, Taylor (CDC/DDPHSS/OD) (CTR)" userId="S::uog6@cdc.gov::c622571b-4f02-4950-8906-006a29f9497d" providerId="AD" clId="Web-{705E2BEE-B3D8-436B-9B20-3BA89F76AA29}" dt="2023-08-31T12:42:29.403" v="93"/>
      <pc:docMkLst>
        <pc:docMk/>
      </pc:docMkLst>
      <pc:sldChg chg="modSp">
        <pc:chgData name="Fay, Taylor (CDC/DDPHSS/OD) (CTR)" userId="S::uog6@cdc.gov::c622571b-4f02-4950-8906-006a29f9497d" providerId="AD" clId="Web-{705E2BEE-B3D8-436B-9B20-3BA89F76AA29}" dt="2023-08-31T12:40:30.651" v="38" actId="1076"/>
        <pc:sldMkLst>
          <pc:docMk/>
          <pc:sldMk cId="2678279329" sldId="2147480454"/>
        </pc:sldMkLst>
        <pc:spChg chg="mod">
          <ac:chgData name="Fay, Taylor (CDC/DDPHSS/OD) (CTR)" userId="S::uog6@cdc.gov::c622571b-4f02-4950-8906-006a29f9497d" providerId="AD" clId="Web-{705E2BEE-B3D8-436B-9B20-3BA89F76AA29}" dt="2023-08-31T12:38:59.743" v="32" actId="1076"/>
          <ac:spMkLst>
            <pc:docMk/>
            <pc:sldMk cId="2678279329" sldId="2147480454"/>
            <ac:spMk id="13" creationId="{FCF6D7BC-8729-2C04-0884-34067D7B0304}"/>
          </ac:spMkLst>
        </pc:spChg>
        <pc:spChg chg="mod">
          <ac:chgData name="Fay, Taylor (CDC/DDPHSS/OD) (CTR)" userId="S::uog6@cdc.gov::c622571b-4f02-4950-8906-006a29f9497d" providerId="AD" clId="Web-{705E2BEE-B3D8-436B-9B20-3BA89F76AA29}" dt="2023-08-31T12:38:59.759" v="33" actId="1076"/>
          <ac:spMkLst>
            <pc:docMk/>
            <pc:sldMk cId="2678279329" sldId="2147480454"/>
            <ac:spMk id="15" creationId="{385CD3C8-A7B9-3CDE-D137-DC01A0AAE04D}"/>
          </ac:spMkLst>
        </pc:spChg>
        <pc:spChg chg="mod">
          <ac:chgData name="Fay, Taylor (CDC/DDPHSS/OD) (CTR)" userId="S::uog6@cdc.gov::c622571b-4f02-4950-8906-006a29f9497d" providerId="AD" clId="Web-{705E2BEE-B3D8-436B-9B20-3BA89F76AA29}" dt="2023-08-31T12:38:59.774" v="34" actId="1076"/>
          <ac:spMkLst>
            <pc:docMk/>
            <pc:sldMk cId="2678279329" sldId="2147480454"/>
            <ac:spMk id="16" creationId="{02125598-4737-089B-F5E7-9376F8BA65FE}"/>
          </ac:spMkLst>
        </pc:spChg>
        <pc:spChg chg="mod">
          <ac:chgData name="Fay, Taylor (CDC/DDPHSS/OD) (CTR)" userId="S::uog6@cdc.gov::c622571b-4f02-4950-8906-006a29f9497d" providerId="AD" clId="Web-{705E2BEE-B3D8-436B-9B20-3BA89F76AA29}" dt="2023-08-31T12:38:59.790" v="35" actId="1076"/>
          <ac:spMkLst>
            <pc:docMk/>
            <pc:sldMk cId="2678279329" sldId="2147480454"/>
            <ac:spMk id="17" creationId="{563DA0AA-6DC4-BD7F-0150-B8887657CDE1}"/>
          </ac:spMkLst>
        </pc:spChg>
        <pc:spChg chg="mod">
          <ac:chgData name="Fay, Taylor (CDC/DDPHSS/OD) (CTR)" userId="S::uog6@cdc.gov::c622571b-4f02-4950-8906-006a29f9497d" providerId="AD" clId="Web-{705E2BEE-B3D8-436B-9B20-3BA89F76AA29}" dt="2023-08-31T12:38:59.806" v="36" actId="1076"/>
          <ac:spMkLst>
            <pc:docMk/>
            <pc:sldMk cId="2678279329" sldId="2147480454"/>
            <ac:spMk id="18" creationId="{173D1654-EC9F-4D54-3EB0-DC9E8C6D96CB}"/>
          </ac:spMkLst>
        </pc:spChg>
        <pc:spChg chg="mod">
          <ac:chgData name="Fay, Taylor (CDC/DDPHSS/OD) (CTR)" userId="S::uog6@cdc.gov::c622571b-4f02-4950-8906-006a29f9497d" providerId="AD" clId="Web-{705E2BEE-B3D8-436B-9B20-3BA89F76AA29}" dt="2023-08-31T12:40:30.651" v="38" actId="1076"/>
          <ac:spMkLst>
            <pc:docMk/>
            <pc:sldMk cId="2678279329" sldId="2147480454"/>
            <ac:spMk id="19" creationId="{757C56C8-46A4-68F9-FAA0-4A6C232A6C47}"/>
          </ac:spMkLst>
        </pc:spChg>
        <pc:graphicFrameChg chg="mod modGraphic">
          <ac:chgData name="Fay, Taylor (CDC/DDPHSS/OD) (CTR)" userId="S::uog6@cdc.gov::c622571b-4f02-4950-8906-006a29f9497d" providerId="AD" clId="Web-{705E2BEE-B3D8-436B-9B20-3BA89F76AA29}" dt="2023-08-31T12:38:59.852" v="37" actId="1076"/>
          <ac:graphicFrameMkLst>
            <pc:docMk/>
            <pc:sldMk cId="2678279329" sldId="2147480454"/>
            <ac:graphicFrameMk id="14" creationId="{60DFC0D1-9356-FCF7-DFF6-75EAEDD413D9}"/>
          </ac:graphicFrameMkLst>
        </pc:graphicFrameChg>
      </pc:sldChg>
      <pc:sldChg chg="addSp delSp modSp new">
        <pc:chgData name="Fay, Taylor (CDC/DDPHSS/OD) (CTR)" userId="S::uog6@cdc.gov::c622571b-4f02-4950-8906-006a29f9497d" providerId="AD" clId="Web-{705E2BEE-B3D8-436B-9B20-3BA89F76AA29}" dt="2023-08-31T12:42:29.403" v="93"/>
        <pc:sldMkLst>
          <pc:docMk/>
          <pc:sldMk cId="677606190" sldId="2147480455"/>
        </pc:sldMkLst>
        <pc:spChg chg="add mod">
          <ac:chgData name="Fay, Taylor (CDC/DDPHSS/OD) (CTR)" userId="S::uog6@cdc.gov::c622571b-4f02-4950-8906-006a29f9497d" providerId="AD" clId="Web-{705E2BEE-B3D8-436B-9B20-3BA89F76AA29}" dt="2023-08-31T12:42:18.387" v="88" actId="1076"/>
          <ac:spMkLst>
            <pc:docMk/>
            <pc:sldMk cId="677606190" sldId="2147480455"/>
            <ac:spMk id="5" creationId="{1DBE62A1-9A9C-EB93-3868-E6D99CCEE1C1}"/>
          </ac:spMkLst>
        </pc:spChg>
        <pc:spChg chg="add mod">
          <ac:chgData name="Fay, Taylor (CDC/DDPHSS/OD) (CTR)" userId="S::uog6@cdc.gov::c622571b-4f02-4950-8906-006a29f9497d" providerId="AD" clId="Web-{705E2BEE-B3D8-436B-9B20-3BA89F76AA29}" dt="2023-08-31T12:42:18.387" v="89" actId="1076"/>
          <ac:spMkLst>
            <pc:docMk/>
            <pc:sldMk cId="677606190" sldId="2147480455"/>
            <ac:spMk id="6" creationId="{08E93265-F659-E2E1-E332-3B9388F17E87}"/>
          </ac:spMkLst>
        </pc:spChg>
        <pc:spChg chg="add mod">
          <ac:chgData name="Fay, Taylor (CDC/DDPHSS/OD) (CTR)" userId="S::uog6@cdc.gov::c622571b-4f02-4950-8906-006a29f9497d" providerId="AD" clId="Web-{705E2BEE-B3D8-436B-9B20-3BA89F76AA29}" dt="2023-08-31T12:42:18.403" v="90" actId="1076"/>
          <ac:spMkLst>
            <pc:docMk/>
            <pc:sldMk cId="677606190" sldId="2147480455"/>
            <ac:spMk id="7" creationId="{FA44D235-AA49-7BA9-1666-50A0C4D496CD}"/>
          </ac:spMkLst>
        </pc:spChg>
        <pc:spChg chg="add del mod">
          <ac:chgData name="Fay, Taylor (CDC/DDPHSS/OD) (CTR)" userId="S::uog6@cdc.gov::c622571b-4f02-4950-8906-006a29f9497d" providerId="AD" clId="Web-{705E2BEE-B3D8-436B-9B20-3BA89F76AA29}" dt="2023-08-31T12:42:29.403" v="93"/>
          <ac:spMkLst>
            <pc:docMk/>
            <pc:sldMk cId="677606190" sldId="2147480455"/>
            <ac:spMk id="8" creationId="{9CC71A38-7B80-938A-ABF5-CAA45AD29F9E}"/>
          </ac:spMkLst>
        </pc:spChg>
      </pc:sldChg>
    </pc:docChg>
  </pc:docChgLst>
  <pc:docChgLst>
    <pc:chgData name="Fay, Taylor (CDC/DDPHSS/OD) (CTR)" userId="S::uog6@cdc.gov::c622571b-4f02-4950-8906-006a29f9497d" providerId="AD" clId="Web-{B507CBA0-5345-9643-B9B2-DA2557C89056}"/>
    <pc:docChg chg="addSld delSld modSld">
      <pc:chgData name="Fay, Taylor (CDC/DDPHSS/OD) (CTR)" userId="S::uog6@cdc.gov::c622571b-4f02-4950-8906-006a29f9497d" providerId="AD" clId="Web-{B507CBA0-5345-9643-B9B2-DA2557C89056}" dt="2023-08-29T17:43:35.307" v="48"/>
      <pc:docMkLst>
        <pc:docMk/>
      </pc:docMkLst>
      <pc:sldChg chg="modSp">
        <pc:chgData name="Fay, Taylor (CDC/DDPHSS/OD) (CTR)" userId="S::uog6@cdc.gov::c622571b-4f02-4950-8906-006a29f9497d" providerId="AD" clId="Web-{B507CBA0-5345-9643-B9B2-DA2557C89056}" dt="2023-08-29T17:43:12.244" v="47" actId="20577"/>
        <pc:sldMkLst>
          <pc:docMk/>
          <pc:sldMk cId="1231048851" sldId="2147480449"/>
        </pc:sldMkLst>
        <pc:spChg chg="mod">
          <ac:chgData name="Fay, Taylor (CDC/DDPHSS/OD) (CTR)" userId="S::uog6@cdc.gov::c622571b-4f02-4950-8906-006a29f9497d" providerId="AD" clId="Web-{B507CBA0-5345-9643-B9B2-DA2557C89056}" dt="2023-08-29T17:43:12.244" v="47" actId="20577"/>
          <ac:spMkLst>
            <pc:docMk/>
            <pc:sldMk cId="1231048851" sldId="2147480449"/>
            <ac:spMk id="12" creationId="{AECF0CEA-CA0E-302D-7907-43CCA8BD27B0}"/>
          </ac:spMkLst>
        </pc:spChg>
      </pc:sldChg>
      <pc:sldChg chg="add del">
        <pc:chgData name="Fay, Taylor (CDC/DDPHSS/OD) (CTR)" userId="S::uog6@cdc.gov::c622571b-4f02-4950-8906-006a29f9497d" providerId="AD" clId="Web-{B507CBA0-5345-9643-B9B2-DA2557C89056}" dt="2023-08-29T17:43:35.307" v="48"/>
        <pc:sldMkLst>
          <pc:docMk/>
          <pc:sldMk cId="1304794452" sldId="2147480451"/>
        </pc:sldMkLst>
      </pc:sldChg>
      <pc:sldMasterChg chg="addSldLayout">
        <pc:chgData name="Fay, Taylor (CDC/DDPHSS/OD) (CTR)" userId="S::uog6@cdc.gov::c622571b-4f02-4950-8906-006a29f9497d" providerId="AD" clId="Web-{B507CBA0-5345-9643-B9B2-DA2557C89056}" dt="2023-08-29T17:41:46.133" v="0"/>
        <pc:sldMasterMkLst>
          <pc:docMk/>
          <pc:sldMasterMk cId="3812386140" sldId="2147483672"/>
        </pc:sldMasterMkLst>
        <pc:sldLayoutChg chg="add replId">
          <pc:chgData name="Fay, Taylor (CDC/DDPHSS/OD) (CTR)" userId="S::uog6@cdc.gov::c622571b-4f02-4950-8906-006a29f9497d" providerId="AD" clId="Web-{B507CBA0-5345-9643-B9B2-DA2557C89056}" dt="2023-08-29T17:41:46.133" v="0"/>
          <pc:sldLayoutMkLst>
            <pc:docMk/>
            <pc:sldMasterMk cId="3812386140" sldId="2147483672"/>
            <pc:sldLayoutMk cId="1282036276" sldId="2147483724"/>
          </pc:sldLayoutMkLst>
        </pc:sldLayoutChg>
      </pc:sldMasterChg>
    </pc:docChg>
  </pc:docChgLst>
  <pc:docChgLst>
    <pc:chgData name="Sargent, Aryn (CDC/DDPHSS/OD) (CTR)" userId="S::tny8@cdc.gov::d69ab2df-90f7-49a9-a41f-dbae54c01443" providerId="AD" clId="Web-{F0D8123F-90F8-4309-745C-94FC1832FBC0}"/>
    <pc:docChg chg="modSld">
      <pc:chgData name="Sargent, Aryn (CDC/DDPHSS/OD) (CTR)" userId="S::tny8@cdc.gov::d69ab2df-90f7-49a9-a41f-dbae54c01443" providerId="AD" clId="Web-{F0D8123F-90F8-4309-745C-94FC1832FBC0}" dt="2023-08-31T15:25:02.023" v="332"/>
      <pc:docMkLst>
        <pc:docMk/>
      </pc:docMkLst>
      <pc:sldChg chg="modSp modCm">
        <pc:chgData name="Sargent, Aryn (CDC/DDPHSS/OD) (CTR)" userId="S::tny8@cdc.gov::d69ab2df-90f7-49a9-a41f-dbae54c01443" providerId="AD" clId="Web-{F0D8123F-90F8-4309-745C-94FC1832FBC0}" dt="2023-08-31T15:25:02.023" v="332"/>
        <pc:sldMkLst>
          <pc:docMk/>
          <pc:sldMk cId="2678279329" sldId="2147480454"/>
        </pc:sldMkLst>
        <pc:spChg chg="mod">
          <ac:chgData name="Sargent, Aryn (CDC/DDPHSS/OD) (CTR)" userId="S::tny8@cdc.gov::d69ab2df-90f7-49a9-a41f-dbae54c01443" providerId="AD" clId="Web-{F0D8123F-90F8-4309-745C-94FC1832FBC0}" dt="2023-08-31T15:12:09.102" v="2" actId="20577"/>
          <ac:spMkLst>
            <pc:docMk/>
            <pc:sldMk cId="2678279329" sldId="2147480454"/>
            <ac:spMk id="16" creationId="{02125598-4737-089B-F5E7-9376F8BA65FE}"/>
          </ac:spMkLst>
        </pc:spChg>
        <pc:spChg chg="mod">
          <ac:chgData name="Sargent, Aryn (CDC/DDPHSS/OD) (CTR)" userId="S::tny8@cdc.gov::d69ab2df-90f7-49a9-a41f-dbae54c01443" providerId="AD" clId="Web-{F0D8123F-90F8-4309-745C-94FC1832FBC0}" dt="2023-08-31T15:16:20.951" v="5" actId="20577"/>
          <ac:spMkLst>
            <pc:docMk/>
            <pc:sldMk cId="2678279329" sldId="2147480454"/>
            <ac:spMk id="19" creationId="{757C56C8-46A4-68F9-FAA0-4A6C232A6C47}"/>
          </ac:spMkLst>
        </pc:spChg>
        <pc:graphicFrameChg chg="mod modGraphic">
          <ac:chgData name="Sargent, Aryn (CDC/DDPHSS/OD) (CTR)" userId="S::tny8@cdc.gov::d69ab2df-90f7-49a9-a41f-dbae54c01443" providerId="AD" clId="Web-{F0D8123F-90F8-4309-745C-94FC1832FBC0}" dt="2023-08-31T15:24:34.367" v="331"/>
          <ac:graphicFrameMkLst>
            <pc:docMk/>
            <pc:sldMk cId="2678279329" sldId="2147480454"/>
            <ac:graphicFrameMk id="14" creationId="{60DFC0D1-9356-FCF7-DFF6-75EAEDD413D9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Sargent, Aryn (CDC/DDPHSS/OD) (CTR)" userId="S::tny8@cdc.gov::d69ab2df-90f7-49a9-a41f-dbae54c01443" providerId="AD" clId="Web-{F0D8123F-90F8-4309-745C-94FC1832FBC0}" dt="2023-08-31T15:25:02.023" v="332"/>
              <pc2:cmMkLst xmlns:pc2="http://schemas.microsoft.com/office/powerpoint/2019/9/main/command">
                <pc:docMk/>
                <pc:sldMk cId="2678279329" sldId="2147480454"/>
                <pc2:cmMk id="{678EF712-B033-42BF-A210-25C8A4E2C6E8}"/>
              </pc2:cmMkLst>
              <pc226:cmRplyChg chg="add">
                <pc226:chgData name="Sargent, Aryn (CDC/DDPHSS/OD) (CTR)" userId="S::tny8@cdc.gov::d69ab2df-90f7-49a9-a41f-dbae54c01443" providerId="AD" clId="Web-{F0D8123F-90F8-4309-745C-94FC1832FBC0}" dt="2023-08-31T15:14:55.668" v="4"/>
                <pc2:cmRplyMkLst xmlns:pc2="http://schemas.microsoft.com/office/powerpoint/2019/9/main/command">
                  <pc:docMk/>
                  <pc:sldMk cId="2678279329" sldId="2147480454"/>
                  <pc2:cmMk id="{678EF712-B033-42BF-A210-25C8A4E2C6E8}"/>
                  <pc2:cmRplyMk id="{7B0BD31E-416E-4749-9932-3C90ECD5BD17}"/>
                </pc2:cmRplyMkLst>
              </pc226:cmRplyChg>
              <pc226:cmRplyChg chg="add">
                <pc226:chgData name="Sargent, Aryn (CDC/DDPHSS/OD) (CTR)" userId="S::tny8@cdc.gov::d69ab2df-90f7-49a9-a41f-dbae54c01443" providerId="AD" clId="Web-{F0D8123F-90F8-4309-745C-94FC1832FBC0}" dt="2023-08-31T15:25:02.023" v="332"/>
                <pc2:cmRplyMkLst xmlns:pc2="http://schemas.microsoft.com/office/powerpoint/2019/9/main/command">
                  <pc:docMk/>
                  <pc:sldMk cId="2678279329" sldId="2147480454"/>
                  <pc2:cmMk id="{678EF712-B033-42BF-A210-25C8A4E2C6E8}"/>
                  <pc2:cmRplyMk id="{FBD457F5-B17C-414A-8426-51B5AEB4E9BA}"/>
                </pc2:cmRplyMkLst>
              </pc226:cmRplyChg>
            </pc226:cmChg>
          </p:ext>
        </pc:extLst>
      </pc:sldChg>
    </pc:docChg>
  </pc:docChgLst>
  <pc:docChgLst>
    <pc:chgData name="Williams, Paula O. (CDC/DDPHSS/OD)" userId="S::gvc0@cdc.gov::74054436-8995-4816-b6f8-75d610612a07" providerId="AD" clId="Web-{BB2EB49B-E7BE-27C6-5A2E-92449A5BEFCA}"/>
    <pc:docChg chg="modSld">
      <pc:chgData name="Williams, Paula O. (CDC/DDPHSS/OD)" userId="S::gvc0@cdc.gov::74054436-8995-4816-b6f8-75d610612a07" providerId="AD" clId="Web-{BB2EB49B-E7BE-27C6-5A2E-92449A5BEFCA}" dt="2023-08-31T18:17:29.288" v="31"/>
      <pc:docMkLst>
        <pc:docMk/>
      </pc:docMkLst>
      <pc:sldChg chg="delSp modSp">
        <pc:chgData name="Williams, Paula O. (CDC/DDPHSS/OD)" userId="S::gvc0@cdc.gov::74054436-8995-4816-b6f8-75d610612a07" providerId="AD" clId="Web-{BB2EB49B-E7BE-27C6-5A2E-92449A5BEFCA}" dt="2023-08-31T18:16:38.991" v="5"/>
        <pc:sldMkLst>
          <pc:docMk/>
          <pc:sldMk cId="2829921783" sldId="2147479981"/>
        </pc:sldMkLst>
        <pc:spChg chg="del mod">
          <ac:chgData name="Williams, Paula O. (CDC/DDPHSS/OD)" userId="S::gvc0@cdc.gov::74054436-8995-4816-b6f8-75d610612a07" providerId="AD" clId="Web-{BB2EB49B-E7BE-27C6-5A2E-92449A5BEFCA}" dt="2023-08-31T18:16:28.788" v="2"/>
          <ac:spMkLst>
            <pc:docMk/>
            <pc:sldMk cId="2829921783" sldId="2147479981"/>
            <ac:spMk id="7" creationId="{ADDBC324-737B-FA81-6F31-B4A1AD91C957}"/>
          </ac:spMkLst>
        </pc:spChg>
        <pc:spChg chg="del mod">
          <ac:chgData name="Williams, Paula O. (CDC/DDPHSS/OD)" userId="S::gvc0@cdc.gov::74054436-8995-4816-b6f8-75d610612a07" providerId="AD" clId="Web-{BB2EB49B-E7BE-27C6-5A2E-92449A5BEFCA}" dt="2023-08-31T18:16:38.991" v="5"/>
          <ac:spMkLst>
            <pc:docMk/>
            <pc:sldMk cId="2829921783" sldId="2147479981"/>
            <ac:spMk id="41" creationId="{004F29F3-EE8C-47D3-8CF6-C903043622A9}"/>
          </ac:spMkLst>
        </pc:spChg>
        <pc:grpChg chg="del">
          <ac:chgData name="Williams, Paula O. (CDC/DDPHSS/OD)" userId="S::gvc0@cdc.gov::74054436-8995-4816-b6f8-75d610612a07" providerId="AD" clId="Web-{BB2EB49B-E7BE-27C6-5A2E-92449A5BEFCA}" dt="2023-08-31T18:16:28.788" v="2"/>
          <ac:grpSpMkLst>
            <pc:docMk/>
            <pc:sldMk cId="2829921783" sldId="2147479981"/>
            <ac:grpSpMk id="2" creationId="{13396D0C-F048-4475-AB8E-8F8F168ACB62}"/>
          </ac:grpSpMkLst>
        </pc:grpChg>
      </pc:sldChg>
      <pc:sldChg chg="modSp">
        <pc:chgData name="Williams, Paula O. (CDC/DDPHSS/OD)" userId="S::gvc0@cdc.gov::74054436-8995-4816-b6f8-75d610612a07" providerId="AD" clId="Web-{BB2EB49B-E7BE-27C6-5A2E-92449A5BEFCA}" dt="2023-08-31T18:16:51.194" v="14" actId="20577"/>
        <pc:sldMkLst>
          <pc:docMk/>
          <pc:sldMk cId="2678279329" sldId="2147480454"/>
        </pc:sldMkLst>
        <pc:spChg chg="mod">
          <ac:chgData name="Williams, Paula O. (CDC/DDPHSS/OD)" userId="S::gvc0@cdc.gov::74054436-8995-4816-b6f8-75d610612a07" providerId="AD" clId="Web-{BB2EB49B-E7BE-27C6-5A2E-92449A5BEFCA}" dt="2023-08-31T18:16:51.194" v="14" actId="20577"/>
          <ac:spMkLst>
            <pc:docMk/>
            <pc:sldMk cId="2678279329" sldId="2147480454"/>
            <ac:spMk id="10" creationId="{EB7AFBB5-7E4F-C656-1930-8D58F9B110FF}"/>
          </ac:spMkLst>
        </pc:spChg>
      </pc:sldChg>
      <pc:sldChg chg="modSp">
        <pc:chgData name="Williams, Paula O. (CDC/DDPHSS/OD)" userId="S::gvc0@cdc.gov::74054436-8995-4816-b6f8-75d610612a07" providerId="AD" clId="Web-{BB2EB49B-E7BE-27C6-5A2E-92449A5BEFCA}" dt="2023-08-31T18:17:29.288" v="31"/>
        <pc:sldMkLst>
          <pc:docMk/>
          <pc:sldMk cId="2985194141" sldId="2147480455"/>
        </pc:sldMkLst>
        <pc:spChg chg="mod">
          <ac:chgData name="Williams, Paula O. (CDC/DDPHSS/OD)" userId="S::gvc0@cdc.gov::74054436-8995-4816-b6f8-75d610612a07" providerId="AD" clId="Web-{BB2EB49B-E7BE-27C6-5A2E-92449A5BEFCA}" dt="2023-08-31T18:16:56.929" v="16" actId="20577"/>
          <ac:spMkLst>
            <pc:docMk/>
            <pc:sldMk cId="2985194141" sldId="2147480455"/>
            <ac:spMk id="10" creationId="{EB7AFBB5-7E4F-C656-1930-8D58F9B110FF}"/>
          </ac:spMkLst>
        </pc:spChg>
        <pc:graphicFrameChg chg="mod modGraphic">
          <ac:chgData name="Williams, Paula O. (CDC/DDPHSS/OD)" userId="S::gvc0@cdc.gov::74054436-8995-4816-b6f8-75d610612a07" providerId="AD" clId="Web-{BB2EB49B-E7BE-27C6-5A2E-92449A5BEFCA}" dt="2023-08-31T18:17:29.288" v="31"/>
          <ac:graphicFrameMkLst>
            <pc:docMk/>
            <pc:sldMk cId="2985194141" sldId="2147480455"/>
            <ac:graphicFrameMk id="14" creationId="{60DFC0D1-9356-FCF7-DFF6-75EAEDD413D9}"/>
          </ac:graphicFrameMkLst>
        </pc:graphicFrameChg>
      </pc:sldChg>
    </pc:docChg>
  </pc:docChgLst>
  <pc:docChgLst>
    <pc:chgData name="Jiwani, Sahil (CDC/DDPHSS/OD) (CTR)" userId="S::ubw3@cdc.gov::36979ee3-d108-44a0-9f87-1b615dc81683" providerId="AD" clId="Web-{2BFA0F92-6DCB-4876-804E-79514D65B217}"/>
    <pc:docChg chg="mod">
      <pc:chgData name="Jiwani, Sahil (CDC/DDPHSS/OD) (CTR)" userId="S::ubw3@cdc.gov::36979ee3-d108-44a0-9f87-1b615dc81683" providerId="AD" clId="Web-{2BFA0F92-6DCB-4876-804E-79514D65B217}" dt="2023-08-29T15:12:05.704" v="0" actId="33475"/>
      <pc:docMkLst>
        <pc:docMk/>
      </pc:docMkLst>
    </pc:docChg>
  </pc:docChgLst>
  <pc:docChgLst>
    <pc:chgData name="Sargent, Aryn (CDC/DDPHSS/OD) (CTR)" userId="S::tny8@cdc.gov::d69ab2df-90f7-49a9-a41f-dbae54c01443" providerId="AD" clId="Web-{0223685A-F15F-2665-5448-D79B599E7022}"/>
    <pc:docChg chg="mod addSld modSld">
      <pc:chgData name="Sargent, Aryn (CDC/DDPHSS/OD) (CTR)" userId="S::tny8@cdc.gov::d69ab2df-90f7-49a9-a41f-dbae54c01443" providerId="AD" clId="Web-{0223685A-F15F-2665-5448-D79B599E7022}" dt="2023-08-29T16:52:56.935" v="346"/>
      <pc:docMkLst>
        <pc:docMk/>
      </pc:docMkLst>
      <pc:sldChg chg="addSp delSp modSp add addCm delCm">
        <pc:chgData name="Sargent, Aryn (CDC/DDPHSS/OD) (CTR)" userId="S::tny8@cdc.gov::d69ab2df-90f7-49a9-a41f-dbae54c01443" providerId="AD" clId="Web-{0223685A-F15F-2665-5448-D79B599E7022}" dt="2023-08-29T16:52:56.935" v="346"/>
        <pc:sldMkLst>
          <pc:docMk/>
          <pc:sldMk cId="30384471" sldId="2147480450"/>
        </pc:sldMkLst>
        <pc:spChg chg="mod">
          <ac:chgData name="Sargent, Aryn (CDC/DDPHSS/OD) (CTR)" userId="S::tny8@cdc.gov::d69ab2df-90f7-49a9-a41f-dbae54c01443" providerId="AD" clId="Web-{0223685A-F15F-2665-5448-D79B599E7022}" dt="2023-08-29T16:52:20.840" v="345" actId="20577"/>
          <ac:spMkLst>
            <pc:docMk/>
            <pc:sldMk cId="30384471" sldId="2147480450"/>
            <ac:spMk id="2" creationId="{81E6BBB5-1333-2C60-4209-8D44F11F1313}"/>
          </ac:spMkLst>
        </pc:spChg>
        <pc:spChg chg="del">
          <ac:chgData name="Sargent, Aryn (CDC/DDPHSS/OD) (CTR)" userId="S::tny8@cdc.gov::d69ab2df-90f7-49a9-a41f-dbae54c01443" providerId="AD" clId="Web-{0223685A-F15F-2665-5448-D79B599E7022}" dt="2023-08-29T15:42:07.423" v="1"/>
          <ac:spMkLst>
            <pc:docMk/>
            <pc:sldMk cId="30384471" sldId="2147480450"/>
            <ac:spMk id="3" creationId="{19EC1DE4-F937-542A-60AB-3D6013017705}"/>
          </ac:spMkLst>
        </pc:spChg>
        <pc:spChg chg="add mod">
          <ac:chgData name="Sargent, Aryn (CDC/DDPHSS/OD) (CTR)" userId="S::tny8@cdc.gov::d69ab2df-90f7-49a9-a41f-dbae54c01443" providerId="AD" clId="Web-{0223685A-F15F-2665-5448-D79B599E7022}" dt="2023-08-29T16:51:00.449" v="295" actId="1076"/>
          <ac:spMkLst>
            <pc:docMk/>
            <pc:sldMk cId="30384471" sldId="2147480450"/>
            <ac:spMk id="3" creationId="{E28A5CBD-A2E6-055D-BEC6-74C65E1A30A0}"/>
          </ac:spMkLst>
        </pc:spChg>
        <pc:spChg chg="add mod">
          <ac:chgData name="Sargent, Aryn (CDC/DDPHSS/OD) (CTR)" userId="S::tny8@cdc.gov::d69ab2df-90f7-49a9-a41f-dbae54c01443" providerId="AD" clId="Web-{0223685A-F15F-2665-5448-D79B599E7022}" dt="2023-08-29T16:43:39.661" v="80" actId="1076"/>
          <ac:spMkLst>
            <pc:docMk/>
            <pc:sldMk cId="30384471" sldId="2147480450"/>
            <ac:spMk id="4" creationId="{2C673719-2166-70A3-38F2-84A803EE5479}"/>
          </ac:spMkLst>
        </pc:spChg>
        <pc:spChg chg="mod">
          <ac:chgData name="Sargent, Aryn (CDC/DDPHSS/OD) (CTR)" userId="S::tny8@cdc.gov::d69ab2df-90f7-49a9-a41f-dbae54c01443" providerId="AD" clId="Web-{0223685A-F15F-2665-5448-D79B599E7022}" dt="2023-08-29T16:51:00.464" v="296" actId="1076"/>
          <ac:spMkLst>
            <pc:docMk/>
            <pc:sldMk cId="30384471" sldId="2147480450"/>
            <ac:spMk id="5" creationId="{68620C2E-6A30-6562-814F-DF7B54EB4B10}"/>
          </ac:spMkLst>
        </pc:spChg>
        <pc:spChg chg="mod">
          <ac:chgData name="Sargent, Aryn (CDC/DDPHSS/OD) (CTR)" userId="S::tny8@cdc.gov::d69ab2df-90f7-49a9-a41f-dbae54c01443" providerId="AD" clId="Web-{0223685A-F15F-2665-5448-D79B599E7022}" dt="2023-08-29T16:51:00.417" v="293" actId="1076"/>
          <ac:spMkLst>
            <pc:docMk/>
            <pc:sldMk cId="30384471" sldId="2147480450"/>
            <ac:spMk id="6" creationId="{E8B63955-D308-264B-C7C3-B657F034D691}"/>
          </ac:spMkLst>
        </pc:spChg>
        <pc:spChg chg="add mod">
          <ac:chgData name="Sargent, Aryn (CDC/DDPHSS/OD) (CTR)" userId="S::tny8@cdc.gov::d69ab2df-90f7-49a9-a41f-dbae54c01443" providerId="AD" clId="Web-{0223685A-F15F-2665-5448-D79B599E7022}" dt="2023-08-29T16:51:45.949" v="335" actId="14100"/>
          <ac:spMkLst>
            <pc:docMk/>
            <pc:sldMk cId="30384471" sldId="2147480450"/>
            <ac:spMk id="7" creationId="{48CA389A-2E74-6328-471E-55D0D04E27AB}"/>
          </ac:spMkLst>
        </pc:spChg>
        <pc:spChg chg="mod">
          <ac:chgData name="Sargent, Aryn (CDC/DDPHSS/OD) (CTR)" userId="S::tny8@cdc.gov::d69ab2df-90f7-49a9-a41f-dbae54c01443" providerId="AD" clId="Web-{0223685A-F15F-2665-5448-D79B599E7022}" dt="2023-08-29T16:51:53.793" v="336" actId="1076"/>
          <ac:spMkLst>
            <pc:docMk/>
            <pc:sldMk cId="30384471" sldId="2147480450"/>
            <ac:spMk id="12" creationId="{82E3B06B-2A97-413E-EC53-371E2B2B38B0}"/>
          </ac:spMkLst>
        </pc:spChg>
        <pc:graphicFrameChg chg="mod modGraphic">
          <ac:chgData name="Sargent, Aryn (CDC/DDPHSS/OD) (CTR)" userId="S::tny8@cdc.gov::d69ab2df-90f7-49a9-a41f-dbae54c01443" providerId="AD" clId="Web-{0223685A-F15F-2665-5448-D79B599E7022}" dt="2023-08-29T16:49:05.259" v="292"/>
          <ac:graphicFrameMkLst>
            <pc:docMk/>
            <pc:sldMk cId="30384471" sldId="2147480450"/>
            <ac:graphicFrameMk id="8" creationId="{CBA013FA-9271-BC53-3F64-DBE6142FC4C8}"/>
          </ac:graphicFrameMkLst>
        </pc:graphicFrameChg>
      </pc:sldChg>
      <pc:sldMasterChg chg="addSldLayout">
        <pc:chgData name="Sargent, Aryn (CDC/DDPHSS/OD) (CTR)" userId="S::tny8@cdc.gov::d69ab2df-90f7-49a9-a41f-dbae54c01443" providerId="AD" clId="Web-{0223685A-F15F-2665-5448-D79B599E7022}" dt="2023-08-29T15:41:56.970" v="0"/>
        <pc:sldMasterMkLst>
          <pc:docMk/>
          <pc:sldMasterMk cId="2460954070" sldId="2147483660"/>
        </pc:sldMasterMkLst>
        <pc:sldLayoutChg chg="add replId">
          <pc:chgData name="Sargent, Aryn (CDC/DDPHSS/OD) (CTR)" userId="S::tny8@cdc.gov::d69ab2df-90f7-49a9-a41f-dbae54c01443" providerId="AD" clId="Web-{0223685A-F15F-2665-5448-D79B599E7022}" dt="2023-08-29T15:41:56.970" v="0"/>
          <pc:sldLayoutMkLst>
            <pc:docMk/>
            <pc:sldMasterMk cId="2460954070" sldId="2147483660"/>
            <pc:sldLayoutMk cId="3926707828" sldId="2147483723"/>
          </pc:sldLayoutMkLst>
        </pc:sldLayoutChg>
      </pc:sldMasterChg>
    </pc:docChg>
  </pc:docChgLst>
  <pc:docChgLst>
    <pc:chgData name="Fay, Taylor (CDC/DDPHSS/OD) (CTR)" userId="S::uog6@cdc.gov::c622571b-4f02-4950-8906-006a29f9497d" providerId="AD" clId="Web-{1CA40079-6CF2-41EF-AA3B-21EE97A0C4E1}"/>
    <pc:docChg chg="modSld">
      <pc:chgData name="Fay, Taylor (CDC/DDPHSS/OD) (CTR)" userId="S::uog6@cdc.gov::c622571b-4f02-4950-8906-006a29f9497d" providerId="AD" clId="Web-{1CA40079-6CF2-41EF-AA3B-21EE97A0C4E1}" dt="2023-08-31T16:12:26.150" v="25" actId="20577"/>
      <pc:docMkLst>
        <pc:docMk/>
      </pc:docMkLst>
      <pc:sldChg chg="modSp">
        <pc:chgData name="Fay, Taylor (CDC/DDPHSS/OD) (CTR)" userId="S::uog6@cdc.gov::c622571b-4f02-4950-8906-006a29f9497d" providerId="AD" clId="Web-{1CA40079-6CF2-41EF-AA3B-21EE97A0C4E1}" dt="2023-08-31T16:12:26.150" v="25" actId="20577"/>
        <pc:sldMkLst>
          <pc:docMk/>
          <pc:sldMk cId="2678279329" sldId="2147480454"/>
        </pc:sldMkLst>
        <pc:spChg chg="mod">
          <ac:chgData name="Fay, Taylor (CDC/DDPHSS/OD) (CTR)" userId="S::uog6@cdc.gov::c622571b-4f02-4950-8906-006a29f9497d" providerId="AD" clId="Web-{1CA40079-6CF2-41EF-AA3B-21EE97A0C4E1}" dt="2023-08-31T16:12:26.150" v="25" actId="20577"/>
          <ac:spMkLst>
            <pc:docMk/>
            <pc:sldMk cId="2678279329" sldId="2147480454"/>
            <ac:spMk id="26" creationId="{C04EC5E9-3348-CF6F-EDAF-7793F73ECA64}"/>
          </ac:spMkLst>
        </pc:spChg>
      </pc:sldChg>
    </pc:docChg>
  </pc:docChgLst>
  <pc:docChgLst>
    <pc:chgData name="Fay, Taylor (CDC/DDPHSS/OD) (CTR)" userId="S::uog6@cdc.gov::c622571b-4f02-4950-8906-006a29f9497d" providerId="AD" clId="Web-{EA0CD6FF-BF5C-4E14-917D-4EAA44BC6237}"/>
    <pc:docChg chg="mod delSld modSld">
      <pc:chgData name="Fay, Taylor (CDC/DDPHSS/OD) (CTR)" userId="S::uog6@cdc.gov::c622571b-4f02-4950-8906-006a29f9497d" providerId="AD" clId="Web-{EA0CD6FF-BF5C-4E14-917D-4EAA44BC6237}" dt="2023-08-31T12:53:19.693" v="12"/>
      <pc:docMkLst>
        <pc:docMk/>
      </pc:docMkLst>
      <pc:sldChg chg="modSp">
        <pc:chgData name="Fay, Taylor (CDC/DDPHSS/OD) (CTR)" userId="S::uog6@cdc.gov::c622571b-4f02-4950-8906-006a29f9497d" providerId="AD" clId="Web-{EA0CD6FF-BF5C-4E14-917D-4EAA44BC6237}" dt="2023-08-31T12:46:10.374" v="9" actId="1076"/>
        <pc:sldMkLst>
          <pc:docMk/>
          <pc:sldMk cId="1223733343" sldId="2147480453"/>
        </pc:sldMkLst>
        <pc:graphicFrameChg chg="mod">
          <ac:chgData name="Fay, Taylor (CDC/DDPHSS/OD) (CTR)" userId="S::uog6@cdc.gov::c622571b-4f02-4950-8906-006a29f9497d" providerId="AD" clId="Web-{EA0CD6FF-BF5C-4E14-917D-4EAA44BC6237}" dt="2023-08-31T12:46:10.374" v="9" actId="1076"/>
          <ac:graphicFrameMkLst>
            <pc:docMk/>
            <pc:sldMk cId="1223733343" sldId="2147480453"/>
            <ac:graphicFrameMk id="6" creationId="{764867D5-6E53-7223-D23E-06620D392637}"/>
          </ac:graphicFrameMkLst>
        </pc:graphicFrameChg>
      </pc:sldChg>
      <pc:sldChg chg="addCm">
        <pc:chgData name="Fay, Taylor (CDC/DDPHSS/OD) (CTR)" userId="S::uog6@cdc.gov::c622571b-4f02-4950-8906-006a29f9497d" providerId="AD" clId="Web-{EA0CD6FF-BF5C-4E14-917D-4EAA44BC6237}" dt="2023-08-31T12:53:19.693" v="12"/>
        <pc:sldMkLst>
          <pc:docMk/>
          <pc:sldMk cId="2678279329" sldId="214748045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Fay, Taylor (CDC/DDPHSS/OD) (CTR)" userId="S::uog6@cdc.gov::c622571b-4f02-4950-8906-006a29f9497d" providerId="AD" clId="Web-{EA0CD6FF-BF5C-4E14-917D-4EAA44BC6237}" dt="2023-08-31T12:53:19.693" v="12"/>
              <pc2:cmMkLst xmlns:pc2="http://schemas.microsoft.com/office/powerpoint/2019/9/main/command">
                <pc:docMk/>
                <pc:sldMk cId="2678279329" sldId="2147480454"/>
                <pc2:cmMk id="{678EF712-B033-42BF-A210-25C8A4E2C6E8}"/>
              </pc2:cmMkLst>
            </pc226:cmChg>
          </p:ext>
        </pc:extLst>
      </pc:sldChg>
      <pc:sldChg chg="del">
        <pc:chgData name="Fay, Taylor (CDC/DDPHSS/OD) (CTR)" userId="S::uog6@cdc.gov::c622571b-4f02-4950-8906-006a29f9497d" providerId="AD" clId="Web-{EA0CD6FF-BF5C-4E14-917D-4EAA44BC6237}" dt="2023-08-31T12:51:32.988" v="10"/>
        <pc:sldMkLst>
          <pc:docMk/>
          <pc:sldMk cId="677606190" sldId="2147480455"/>
        </pc:sldMkLst>
      </pc:sldChg>
    </pc:docChg>
  </pc:docChgLst>
  <pc:docChgLst>
    <pc:chgData name="Jiwani, Sahil (CDC/DDPHSS/OD) (CTR)" userId="36979ee3-d108-44a0-9f87-1b615dc81683" providerId="ADAL" clId="{3E872468-4133-4629-9647-3CD78D77D721}"/>
    <pc:docChg chg="undo custSel addSld delSld modSld sldOrd">
      <pc:chgData name="Jiwani, Sahil (CDC/DDPHSS/OD) (CTR)" userId="36979ee3-d108-44a0-9f87-1b615dc81683" providerId="ADAL" clId="{3E872468-4133-4629-9647-3CD78D77D721}" dt="2023-08-30T19:23:11.643" v="399" actId="404"/>
      <pc:docMkLst>
        <pc:docMk/>
      </pc:docMkLst>
      <pc:sldChg chg="del">
        <pc:chgData name="Jiwani, Sahil (CDC/DDPHSS/OD) (CTR)" userId="36979ee3-d108-44a0-9f87-1b615dc81683" providerId="ADAL" clId="{3E872468-4133-4629-9647-3CD78D77D721}" dt="2023-08-30T13:45:44.069" v="2" actId="2696"/>
        <pc:sldMkLst>
          <pc:docMk/>
          <pc:sldMk cId="109857222" sldId="256"/>
        </pc:sldMkLst>
      </pc:sldChg>
      <pc:sldChg chg="del">
        <pc:chgData name="Jiwani, Sahil (CDC/DDPHSS/OD) (CTR)" userId="36979ee3-d108-44a0-9f87-1b615dc81683" providerId="ADAL" clId="{3E872468-4133-4629-9647-3CD78D77D721}" dt="2023-08-30T14:10:14.046" v="229"/>
        <pc:sldMkLst>
          <pc:docMk/>
          <pc:sldMk cId="4073171298" sldId="2147479950"/>
        </pc:sldMkLst>
      </pc:sldChg>
      <pc:sldChg chg="modCm">
        <pc:chgData name="Jiwani, Sahil (CDC/DDPHSS/OD) (CTR)" userId="36979ee3-d108-44a0-9f87-1b615dc81683" providerId="ADAL" clId="{3E872468-4133-4629-9647-3CD78D77D721}" dt="2023-08-30T13:44:11.746" v="0"/>
        <pc:sldMkLst>
          <pc:docMk/>
          <pc:sldMk cId="1018827166" sldId="2147480428"/>
        </pc:sldMkLst>
      </pc:sldChg>
      <pc:sldChg chg="modSp mod ord modClrScheme modShow chgLayout">
        <pc:chgData name="Jiwani, Sahil (CDC/DDPHSS/OD) (CTR)" userId="36979ee3-d108-44a0-9f87-1b615dc81683" providerId="ADAL" clId="{3E872468-4133-4629-9647-3CD78D77D721}" dt="2023-08-30T14:33:24.052" v="232"/>
        <pc:sldMkLst>
          <pc:docMk/>
          <pc:sldMk cId="30384471" sldId="2147480450"/>
        </pc:sldMkLst>
        <pc:spChg chg="mod ord">
          <ac:chgData name="Jiwani, Sahil (CDC/DDPHSS/OD) (CTR)" userId="36979ee3-d108-44a0-9f87-1b615dc81683" providerId="ADAL" clId="{3E872468-4133-4629-9647-3CD78D77D721}" dt="2023-08-30T13:46:17.101" v="29" actId="700"/>
          <ac:spMkLst>
            <pc:docMk/>
            <pc:sldMk cId="30384471" sldId="2147480450"/>
            <ac:spMk id="2" creationId="{81E6BBB5-1333-2C60-4209-8D44F11F1313}"/>
          </ac:spMkLst>
        </pc:spChg>
      </pc:sldChg>
      <pc:sldChg chg="addSp delSp modSp add del mod">
        <pc:chgData name="Jiwani, Sahil (CDC/DDPHSS/OD) (CTR)" userId="36979ee3-d108-44a0-9f87-1b615dc81683" providerId="ADAL" clId="{3E872468-4133-4629-9647-3CD78D77D721}" dt="2023-08-30T14:10:23.687" v="230" actId="2696"/>
        <pc:sldMkLst>
          <pc:docMk/>
          <pc:sldMk cId="2522494572" sldId="2147480451"/>
        </pc:sldMkLst>
        <pc:spChg chg="add del mod">
          <ac:chgData name="Jiwani, Sahil (CDC/DDPHSS/OD) (CTR)" userId="36979ee3-d108-44a0-9f87-1b615dc81683" providerId="ADAL" clId="{3E872468-4133-4629-9647-3CD78D77D721}" dt="2023-08-30T14:08:35.697" v="228"/>
          <ac:spMkLst>
            <pc:docMk/>
            <pc:sldMk cId="2522494572" sldId="2147480451"/>
            <ac:spMk id="3" creationId="{7211C4B9-F6FB-F4D3-68BC-790DBC55D45F}"/>
          </ac:spMkLst>
        </pc:spChg>
        <pc:spChg chg="del">
          <ac:chgData name="Jiwani, Sahil (CDC/DDPHSS/OD) (CTR)" userId="36979ee3-d108-44a0-9f87-1b615dc81683" providerId="ADAL" clId="{3E872468-4133-4629-9647-3CD78D77D721}" dt="2023-08-30T13:46:03.552" v="27" actId="478"/>
          <ac:spMkLst>
            <pc:docMk/>
            <pc:sldMk cId="2522494572" sldId="2147480451"/>
            <ac:spMk id="8" creationId="{08015410-4470-C0C6-6CBE-FF97C64983FF}"/>
          </ac:spMkLst>
        </pc:spChg>
        <pc:spChg chg="del">
          <ac:chgData name="Jiwani, Sahil (CDC/DDPHSS/OD) (CTR)" userId="36979ee3-d108-44a0-9f87-1b615dc81683" providerId="ADAL" clId="{3E872468-4133-4629-9647-3CD78D77D721}" dt="2023-08-30T13:45:52.166" v="3" actId="478"/>
          <ac:spMkLst>
            <pc:docMk/>
            <pc:sldMk cId="2522494572" sldId="2147480451"/>
            <ac:spMk id="9" creationId="{E04D42C6-459B-DF73-5A79-13BB029B93D6}"/>
          </ac:spMkLst>
        </pc:spChg>
        <pc:spChg chg="mod">
          <ac:chgData name="Jiwani, Sahil (CDC/DDPHSS/OD) (CTR)" userId="36979ee3-d108-44a0-9f87-1b615dc81683" providerId="ADAL" clId="{3E872468-4133-4629-9647-3CD78D77D721}" dt="2023-08-30T13:46:00.743" v="26" actId="20577"/>
          <ac:spMkLst>
            <pc:docMk/>
            <pc:sldMk cId="2522494572" sldId="2147480451"/>
            <ac:spMk id="10" creationId="{EB7AFBB5-7E4F-C656-1930-8D58F9B110FF}"/>
          </ac:spMkLst>
        </pc:spChg>
        <pc:spChg chg="del">
          <ac:chgData name="Jiwani, Sahil (CDC/DDPHSS/OD) (CTR)" userId="36979ee3-d108-44a0-9f87-1b615dc81683" providerId="ADAL" clId="{3E872468-4133-4629-9647-3CD78D77D721}" dt="2023-08-30T13:45:52.166" v="3" actId="478"/>
          <ac:spMkLst>
            <pc:docMk/>
            <pc:sldMk cId="2522494572" sldId="2147480451"/>
            <ac:spMk id="12" creationId="{AECF0CEA-CA0E-302D-7907-43CCA8BD27B0}"/>
          </ac:spMkLst>
        </pc:spChg>
        <pc:spChg chg="del">
          <ac:chgData name="Jiwani, Sahil (CDC/DDPHSS/OD) (CTR)" userId="36979ee3-d108-44a0-9f87-1b615dc81683" providerId="ADAL" clId="{3E872468-4133-4629-9647-3CD78D77D721}" dt="2023-08-30T13:45:52.166" v="3" actId="478"/>
          <ac:spMkLst>
            <pc:docMk/>
            <pc:sldMk cId="2522494572" sldId="2147480451"/>
            <ac:spMk id="13" creationId="{E4E622C5-3990-ED58-2AFC-BEC357390D67}"/>
          </ac:spMkLst>
        </pc:spChg>
        <pc:spChg chg="del">
          <ac:chgData name="Jiwani, Sahil (CDC/DDPHSS/OD) (CTR)" userId="36979ee3-d108-44a0-9f87-1b615dc81683" providerId="ADAL" clId="{3E872468-4133-4629-9647-3CD78D77D721}" dt="2023-08-30T13:45:52.166" v="3" actId="478"/>
          <ac:spMkLst>
            <pc:docMk/>
            <pc:sldMk cId="2522494572" sldId="2147480451"/>
            <ac:spMk id="15" creationId="{4A047D26-0E36-3F75-35B9-0F976C2DA679}"/>
          </ac:spMkLst>
        </pc:spChg>
        <pc:spChg chg="del">
          <ac:chgData name="Jiwani, Sahil (CDC/DDPHSS/OD) (CTR)" userId="36979ee3-d108-44a0-9f87-1b615dc81683" providerId="ADAL" clId="{3E872468-4133-4629-9647-3CD78D77D721}" dt="2023-08-30T13:45:52.166" v="3" actId="478"/>
          <ac:spMkLst>
            <pc:docMk/>
            <pc:sldMk cId="2522494572" sldId="2147480451"/>
            <ac:spMk id="20" creationId="{CC6B3EA7-4B63-DAA7-1C46-EF56B4DDE04A}"/>
          </ac:spMkLst>
        </pc:spChg>
        <pc:grpChg chg="del">
          <ac:chgData name="Jiwani, Sahil (CDC/DDPHSS/OD) (CTR)" userId="36979ee3-d108-44a0-9f87-1b615dc81683" providerId="ADAL" clId="{3E872468-4133-4629-9647-3CD78D77D721}" dt="2023-08-30T13:45:52.166" v="3" actId="478"/>
          <ac:grpSpMkLst>
            <pc:docMk/>
            <pc:sldMk cId="2522494572" sldId="2147480451"/>
            <ac:grpSpMk id="36" creationId="{D9FD88BA-1002-8EB2-9795-1E0E0839C837}"/>
          </ac:grpSpMkLst>
        </pc:grpChg>
        <pc:cxnChg chg="del">
          <ac:chgData name="Jiwani, Sahil (CDC/DDPHSS/OD) (CTR)" userId="36979ee3-d108-44a0-9f87-1b615dc81683" providerId="ADAL" clId="{3E872468-4133-4629-9647-3CD78D77D721}" dt="2023-08-30T13:45:52.166" v="3" actId="478"/>
          <ac:cxnSpMkLst>
            <pc:docMk/>
            <pc:sldMk cId="2522494572" sldId="2147480451"/>
            <ac:cxnSpMk id="25" creationId="{2B966081-7BC7-01BD-15B6-70E7B07A5154}"/>
          </ac:cxnSpMkLst>
        </pc:cxnChg>
      </pc:sldChg>
      <pc:sldChg chg="modSp new del mod">
        <pc:chgData name="Jiwani, Sahil (CDC/DDPHSS/OD) (CTR)" userId="36979ee3-d108-44a0-9f87-1b615dc81683" providerId="ADAL" clId="{3E872468-4133-4629-9647-3CD78D77D721}" dt="2023-08-30T13:48:50.916" v="94" actId="2696"/>
        <pc:sldMkLst>
          <pc:docMk/>
          <pc:sldMk cId="3970332904" sldId="2147480452"/>
        </pc:sldMkLst>
        <pc:spChg chg="mod">
          <ac:chgData name="Jiwani, Sahil (CDC/DDPHSS/OD) (CTR)" userId="36979ee3-d108-44a0-9f87-1b615dc81683" providerId="ADAL" clId="{3E872468-4133-4629-9647-3CD78D77D721}" dt="2023-08-30T13:46:29.688" v="67" actId="20577"/>
          <ac:spMkLst>
            <pc:docMk/>
            <pc:sldMk cId="3970332904" sldId="2147480452"/>
            <ac:spMk id="2" creationId="{E8DF81E9-2BE8-57B0-6291-17B2B4A1C947}"/>
          </ac:spMkLst>
        </pc:spChg>
      </pc:sldChg>
      <pc:sldChg chg="addSp delSp modSp add mod ord">
        <pc:chgData name="Jiwani, Sahil (CDC/DDPHSS/OD) (CTR)" userId="36979ee3-d108-44a0-9f87-1b615dc81683" providerId="ADAL" clId="{3E872468-4133-4629-9647-3CD78D77D721}" dt="2023-08-30T19:23:11.643" v="399" actId="404"/>
        <pc:sldMkLst>
          <pc:docMk/>
          <pc:sldMk cId="1223733343" sldId="2147480453"/>
        </pc:sldMkLst>
        <pc:spChg chg="add del mod">
          <ac:chgData name="Jiwani, Sahil (CDC/DDPHSS/OD) (CTR)" userId="36979ee3-d108-44a0-9f87-1b615dc81683" providerId="ADAL" clId="{3E872468-4133-4629-9647-3CD78D77D721}" dt="2023-08-30T18:53:44.768" v="392" actId="12084"/>
          <ac:spMkLst>
            <pc:docMk/>
            <pc:sldMk cId="1223733343" sldId="2147480453"/>
            <ac:spMk id="3" creationId="{FB953B8B-B0BC-47F7-F551-ABC50F298CD0}"/>
          </ac:spMkLst>
        </pc:spChg>
        <pc:spChg chg="mod">
          <ac:chgData name="Jiwani, Sahil (CDC/DDPHSS/OD) (CTR)" userId="36979ee3-d108-44a0-9f87-1b615dc81683" providerId="ADAL" clId="{3E872468-4133-4629-9647-3CD78D77D721}" dt="2023-08-30T18:41:57.773" v="233" actId="20577"/>
          <ac:spMkLst>
            <pc:docMk/>
            <pc:sldMk cId="1223733343" sldId="2147480453"/>
            <ac:spMk id="10" creationId="{EB7AFBB5-7E4F-C656-1930-8D58F9B110FF}"/>
          </ac:spMkLst>
        </pc:spChg>
        <pc:graphicFrameChg chg="add mod modGraphic">
          <ac:chgData name="Jiwani, Sahil (CDC/DDPHSS/OD) (CTR)" userId="36979ee3-d108-44a0-9f87-1b615dc81683" providerId="ADAL" clId="{3E872468-4133-4629-9647-3CD78D77D721}" dt="2023-08-30T19:23:11.643" v="399" actId="404"/>
          <ac:graphicFrameMkLst>
            <pc:docMk/>
            <pc:sldMk cId="1223733343" sldId="2147480453"/>
            <ac:graphicFrameMk id="6" creationId="{764867D5-6E53-7223-D23E-06620D392637}"/>
          </ac:graphicFrameMkLst>
        </pc:graphicFrameChg>
      </pc:sldChg>
      <pc:sldChg chg="addSp delSp modSp add mod ord">
        <pc:chgData name="Jiwani, Sahil (CDC/DDPHSS/OD) (CTR)" userId="36979ee3-d108-44a0-9f87-1b615dc81683" providerId="ADAL" clId="{3E872468-4133-4629-9647-3CD78D77D721}" dt="2023-08-30T13:53:04.630" v="225" actId="1076"/>
        <pc:sldMkLst>
          <pc:docMk/>
          <pc:sldMk cId="2678279329" sldId="2147480454"/>
        </pc:sldMkLst>
        <pc:spChg chg="add del mod">
          <ac:chgData name="Jiwani, Sahil (CDC/DDPHSS/OD) (CTR)" userId="36979ee3-d108-44a0-9f87-1b615dc81683" providerId="ADAL" clId="{3E872468-4133-4629-9647-3CD78D77D721}" dt="2023-08-30T13:49:46.757" v="165"/>
          <ac:spMkLst>
            <pc:docMk/>
            <pc:sldMk cId="2678279329" sldId="2147480454"/>
            <ac:spMk id="3" creationId="{B0F4F5CC-3D86-50EA-8A54-1F7549FB5F37}"/>
          </ac:spMkLst>
        </pc:spChg>
        <pc:spChg chg="add del mod">
          <ac:chgData name="Jiwani, Sahil (CDC/DDPHSS/OD) (CTR)" userId="36979ee3-d108-44a0-9f87-1b615dc81683" providerId="ADAL" clId="{3E872468-4133-4629-9647-3CD78D77D721}" dt="2023-08-30T13:49:46.757" v="165"/>
          <ac:spMkLst>
            <pc:docMk/>
            <pc:sldMk cId="2678279329" sldId="2147480454"/>
            <ac:spMk id="7" creationId="{5A6A44CA-1370-39E4-322E-EEF82C8C3170}"/>
          </ac:spMkLst>
        </pc:spChg>
        <pc:spChg chg="add del mod">
          <ac:chgData name="Jiwani, Sahil (CDC/DDPHSS/OD) (CTR)" userId="36979ee3-d108-44a0-9f87-1b615dc81683" providerId="ADAL" clId="{3E872468-4133-4629-9647-3CD78D77D721}" dt="2023-08-30T13:49:46.757" v="165"/>
          <ac:spMkLst>
            <pc:docMk/>
            <pc:sldMk cId="2678279329" sldId="2147480454"/>
            <ac:spMk id="8" creationId="{F12EA87C-23C6-8E9C-C6F9-B2A8BD1F5023}"/>
          </ac:spMkLst>
        </pc:spChg>
        <pc:spChg chg="add del mod">
          <ac:chgData name="Jiwani, Sahil (CDC/DDPHSS/OD) (CTR)" userId="36979ee3-d108-44a0-9f87-1b615dc81683" providerId="ADAL" clId="{3E872468-4133-4629-9647-3CD78D77D721}" dt="2023-08-30T13:49:46.757" v="165"/>
          <ac:spMkLst>
            <pc:docMk/>
            <pc:sldMk cId="2678279329" sldId="2147480454"/>
            <ac:spMk id="9" creationId="{A46CE77C-C043-70B6-FE78-16BF45489E6B}"/>
          </ac:spMkLst>
        </pc:spChg>
        <pc:spChg chg="mod">
          <ac:chgData name="Jiwani, Sahil (CDC/DDPHSS/OD) (CTR)" userId="36979ee3-d108-44a0-9f87-1b615dc81683" providerId="ADAL" clId="{3E872468-4133-4629-9647-3CD78D77D721}" dt="2023-08-30T13:49:18.223" v="163" actId="20577"/>
          <ac:spMkLst>
            <pc:docMk/>
            <pc:sldMk cId="2678279329" sldId="2147480454"/>
            <ac:spMk id="10" creationId="{EB7AFBB5-7E4F-C656-1930-8D58F9B110FF}"/>
          </ac:spMkLst>
        </pc:spChg>
        <pc:spChg chg="add del mod">
          <ac:chgData name="Jiwani, Sahil (CDC/DDPHSS/OD) (CTR)" userId="36979ee3-d108-44a0-9f87-1b615dc81683" providerId="ADAL" clId="{3E872468-4133-4629-9647-3CD78D77D721}" dt="2023-08-30T13:49:46.757" v="165"/>
          <ac:spMkLst>
            <pc:docMk/>
            <pc:sldMk cId="2678279329" sldId="2147480454"/>
            <ac:spMk id="12" creationId="{B1B77A32-F72B-3B98-212E-9DDE23BA233B}"/>
          </ac:spMkLst>
        </pc:spChg>
        <pc:spChg chg="add mod">
          <ac:chgData name="Jiwani, Sahil (CDC/DDPHSS/OD) (CTR)" userId="36979ee3-d108-44a0-9f87-1b615dc81683" providerId="ADAL" clId="{3E872468-4133-4629-9647-3CD78D77D721}" dt="2023-08-30T13:52:56.612" v="224" actId="1036"/>
          <ac:spMkLst>
            <pc:docMk/>
            <pc:sldMk cId="2678279329" sldId="2147480454"/>
            <ac:spMk id="13" creationId="{FCF6D7BC-8729-2C04-0884-34067D7B0304}"/>
          </ac:spMkLst>
        </pc:spChg>
        <pc:spChg chg="add mod">
          <ac:chgData name="Jiwani, Sahil (CDC/DDPHSS/OD) (CTR)" userId="36979ee3-d108-44a0-9f87-1b615dc81683" providerId="ADAL" clId="{3E872468-4133-4629-9647-3CD78D77D721}" dt="2023-08-30T13:53:04.630" v="225" actId="1076"/>
          <ac:spMkLst>
            <pc:docMk/>
            <pc:sldMk cId="2678279329" sldId="2147480454"/>
            <ac:spMk id="15" creationId="{385CD3C8-A7B9-3CDE-D137-DC01A0AAE04D}"/>
          </ac:spMkLst>
        </pc:spChg>
        <pc:spChg chg="add mod">
          <ac:chgData name="Jiwani, Sahil (CDC/DDPHSS/OD) (CTR)" userId="36979ee3-d108-44a0-9f87-1b615dc81683" providerId="ADAL" clId="{3E872468-4133-4629-9647-3CD78D77D721}" dt="2023-08-30T13:52:56.612" v="224" actId="1036"/>
          <ac:spMkLst>
            <pc:docMk/>
            <pc:sldMk cId="2678279329" sldId="2147480454"/>
            <ac:spMk id="16" creationId="{02125598-4737-089B-F5E7-9376F8BA65FE}"/>
          </ac:spMkLst>
        </pc:spChg>
        <pc:spChg chg="add mod">
          <ac:chgData name="Jiwani, Sahil (CDC/DDPHSS/OD) (CTR)" userId="36979ee3-d108-44a0-9f87-1b615dc81683" providerId="ADAL" clId="{3E872468-4133-4629-9647-3CD78D77D721}" dt="2023-08-30T13:52:47.518" v="212" actId="1076"/>
          <ac:spMkLst>
            <pc:docMk/>
            <pc:sldMk cId="2678279329" sldId="2147480454"/>
            <ac:spMk id="17" creationId="{563DA0AA-6DC4-BD7F-0150-B8887657CDE1}"/>
          </ac:spMkLst>
        </pc:spChg>
        <pc:spChg chg="add mod">
          <ac:chgData name="Jiwani, Sahil (CDC/DDPHSS/OD) (CTR)" userId="36979ee3-d108-44a0-9f87-1b615dc81683" providerId="ADAL" clId="{3E872468-4133-4629-9647-3CD78D77D721}" dt="2023-08-30T13:52:56.612" v="224" actId="1036"/>
          <ac:spMkLst>
            <pc:docMk/>
            <pc:sldMk cId="2678279329" sldId="2147480454"/>
            <ac:spMk id="18" creationId="{173D1654-EC9F-4D54-3EB0-DC9E8C6D96CB}"/>
          </ac:spMkLst>
        </pc:spChg>
        <pc:spChg chg="add mod">
          <ac:chgData name="Jiwani, Sahil (CDC/DDPHSS/OD) (CTR)" userId="36979ee3-d108-44a0-9f87-1b615dc81683" providerId="ADAL" clId="{3E872468-4133-4629-9647-3CD78D77D721}" dt="2023-08-30T13:52:56.612" v="224" actId="1036"/>
          <ac:spMkLst>
            <pc:docMk/>
            <pc:sldMk cId="2678279329" sldId="2147480454"/>
            <ac:spMk id="19" creationId="{757C56C8-46A4-68F9-FAA0-4A6C232A6C47}"/>
          </ac:spMkLst>
        </pc:spChg>
        <pc:graphicFrameChg chg="add del mod">
          <ac:chgData name="Jiwani, Sahil (CDC/DDPHSS/OD) (CTR)" userId="36979ee3-d108-44a0-9f87-1b615dc81683" providerId="ADAL" clId="{3E872468-4133-4629-9647-3CD78D77D721}" dt="2023-08-30T13:49:46.757" v="165"/>
          <ac:graphicFrameMkLst>
            <pc:docMk/>
            <pc:sldMk cId="2678279329" sldId="2147480454"/>
            <ac:graphicFrameMk id="6" creationId="{CFEC25E0-F8A7-9830-3ABA-55EC144BDD4B}"/>
          </ac:graphicFrameMkLst>
        </pc:graphicFrameChg>
        <pc:graphicFrameChg chg="add mod">
          <ac:chgData name="Jiwani, Sahil (CDC/DDPHSS/OD) (CTR)" userId="36979ee3-d108-44a0-9f87-1b615dc81683" providerId="ADAL" clId="{3E872468-4133-4629-9647-3CD78D77D721}" dt="2023-08-30T13:52:47.518" v="212" actId="1076"/>
          <ac:graphicFrameMkLst>
            <pc:docMk/>
            <pc:sldMk cId="2678279329" sldId="2147480454"/>
            <ac:graphicFrameMk id="14" creationId="{60DFC0D1-9356-FCF7-DFF6-75EAEDD413D9}"/>
          </ac:graphicFrameMkLst>
        </pc:graphicFrameChg>
      </pc:sldChg>
    </pc:docChg>
  </pc:docChgLst>
  <pc:docChgLst>
    <pc:chgData name="Jiwani, Sahil (CDC/DDPHSS/OD) (CTR)" userId="36979ee3-d108-44a0-9f87-1b615dc81683" providerId="ADAL" clId="{B1D5D310-2E7A-4050-A24B-9736E97E686C}"/>
    <pc:docChg chg="undo custSel addSld delSld modSld sldOrd">
      <pc:chgData name="Jiwani, Sahil (CDC/DDPHSS/OD) (CTR)" userId="36979ee3-d108-44a0-9f87-1b615dc81683" providerId="ADAL" clId="{B1D5D310-2E7A-4050-A24B-9736E97E686C}" dt="2023-08-29T19:06:13.348" v="59"/>
      <pc:docMkLst>
        <pc:docMk/>
      </pc:docMkLst>
      <pc:sldChg chg="modSp add mod ord addCm">
        <pc:chgData name="Jiwani, Sahil (CDC/DDPHSS/OD) (CTR)" userId="36979ee3-d108-44a0-9f87-1b615dc81683" providerId="ADAL" clId="{B1D5D310-2E7A-4050-A24B-9736E97E686C}" dt="2023-08-29T15:15:56.368" v="51"/>
        <pc:sldMkLst>
          <pc:docMk/>
          <pc:sldMk cId="1018827166" sldId="2147480428"/>
        </pc:sldMkLst>
        <pc:spChg chg="mod">
          <ac:chgData name="Jiwani, Sahil (CDC/DDPHSS/OD) (CTR)" userId="36979ee3-d108-44a0-9f87-1b615dc81683" providerId="ADAL" clId="{B1D5D310-2E7A-4050-A24B-9736E97E686C}" dt="2023-08-29T15:14:22.378" v="49" actId="1076"/>
          <ac:spMkLst>
            <pc:docMk/>
            <pc:sldMk cId="1018827166" sldId="2147480428"/>
            <ac:spMk id="7" creationId="{FE5BB6EB-4982-B6C1-48BB-4C1FC6CE283D}"/>
          </ac:spMkLst>
        </pc:spChg>
        <pc:spChg chg="mod">
          <ac:chgData name="Jiwani, Sahil (CDC/DDPHSS/OD) (CTR)" userId="36979ee3-d108-44a0-9f87-1b615dc81683" providerId="ADAL" clId="{B1D5D310-2E7A-4050-A24B-9736E97E686C}" dt="2023-08-29T15:14:25.402" v="50" actId="1076"/>
          <ac:spMkLst>
            <pc:docMk/>
            <pc:sldMk cId="1018827166" sldId="2147480428"/>
            <ac:spMk id="9" creationId="{DAB6C9D3-721F-184C-F677-DC0637A06697}"/>
          </ac:spMkLst>
        </pc:spChg>
      </pc:sldChg>
      <pc:sldChg chg="add ord">
        <pc:chgData name="Jiwani, Sahil (CDC/DDPHSS/OD) (CTR)" userId="36979ee3-d108-44a0-9f87-1b615dc81683" providerId="ADAL" clId="{B1D5D310-2E7A-4050-A24B-9736E97E686C}" dt="2023-08-29T15:16:41.227" v="54"/>
        <pc:sldMkLst>
          <pc:docMk/>
          <pc:sldMk cId="1231048851" sldId="2147480449"/>
        </pc:sldMkLst>
      </pc:sldChg>
      <pc:sldChg chg="setBg modCm">
        <pc:chgData name="Jiwani, Sahil (CDC/DDPHSS/OD) (CTR)" userId="36979ee3-d108-44a0-9f87-1b615dc81683" providerId="ADAL" clId="{B1D5D310-2E7A-4050-A24B-9736E97E686C}" dt="2023-08-29T19:06:13.348" v="59"/>
        <pc:sldMkLst>
          <pc:docMk/>
          <pc:sldMk cId="30384471" sldId="2147480450"/>
        </pc:sldMkLst>
      </pc:sldChg>
      <pc:sldChg chg="new del">
        <pc:chgData name="Jiwani, Sahil (CDC/DDPHSS/OD) (CTR)" userId="36979ee3-d108-44a0-9f87-1b615dc81683" providerId="ADAL" clId="{B1D5D310-2E7A-4050-A24B-9736E97E686C}" dt="2023-08-29T15:57:37.248" v="56" actId="2696"/>
        <pc:sldMkLst>
          <pc:docMk/>
          <pc:sldMk cId="3469611080" sldId="2147480451"/>
        </pc:sldMkLst>
      </pc:sldChg>
    </pc:docChg>
  </pc:docChgLst>
  <pc:docChgLst>
    <pc:chgData name="Fay, Taylor (CDC/DDPHSS/OD) (CTR)" userId="c622571b-4f02-4950-8906-006a29f9497d" providerId="ADAL" clId="{28207361-72CA-48D2-A117-C44392DCDC18}"/>
    <pc:docChg chg="undo custSel addSld delSld modSld">
      <pc:chgData name="Fay, Taylor (CDC/DDPHSS/OD) (CTR)" userId="c622571b-4f02-4950-8906-006a29f9497d" providerId="ADAL" clId="{28207361-72CA-48D2-A117-C44392DCDC18}" dt="2023-08-31T16:23:59.520" v="1717" actId="20577"/>
      <pc:docMkLst>
        <pc:docMk/>
      </pc:docMkLst>
      <pc:sldChg chg="modSp mod">
        <pc:chgData name="Fay, Taylor (CDC/DDPHSS/OD) (CTR)" userId="c622571b-4f02-4950-8906-006a29f9497d" providerId="ADAL" clId="{28207361-72CA-48D2-A117-C44392DCDC18}" dt="2023-08-31T15:30:37.237" v="202" actId="207"/>
        <pc:sldMkLst>
          <pc:docMk/>
          <pc:sldMk cId="4073171298" sldId="2147479950"/>
        </pc:sldMkLst>
        <pc:spChg chg="mod">
          <ac:chgData name="Fay, Taylor (CDC/DDPHSS/OD) (CTR)" userId="c622571b-4f02-4950-8906-006a29f9497d" providerId="ADAL" clId="{28207361-72CA-48D2-A117-C44392DCDC18}" dt="2023-08-31T15:30:37.237" v="202" actId="207"/>
          <ac:spMkLst>
            <pc:docMk/>
            <pc:sldMk cId="4073171298" sldId="2147479950"/>
            <ac:spMk id="52" creationId="{EBB0B403-DF77-4F09-8C36-4113C316D339}"/>
          </ac:spMkLst>
        </pc:spChg>
      </pc:sldChg>
      <pc:sldChg chg="modSp mod">
        <pc:chgData name="Fay, Taylor (CDC/DDPHSS/OD) (CTR)" userId="c622571b-4f02-4950-8906-006a29f9497d" providerId="ADAL" clId="{28207361-72CA-48D2-A117-C44392DCDC18}" dt="2023-08-31T16:08:41.711" v="1681" actId="113"/>
        <pc:sldMkLst>
          <pc:docMk/>
          <pc:sldMk cId="1018827166" sldId="2147480428"/>
        </pc:sldMkLst>
        <pc:spChg chg="mod">
          <ac:chgData name="Fay, Taylor (CDC/DDPHSS/OD) (CTR)" userId="c622571b-4f02-4950-8906-006a29f9497d" providerId="ADAL" clId="{28207361-72CA-48D2-A117-C44392DCDC18}" dt="2023-08-31T16:08:41.711" v="1681" actId="113"/>
          <ac:spMkLst>
            <pc:docMk/>
            <pc:sldMk cId="1018827166" sldId="2147480428"/>
            <ac:spMk id="9" creationId="{DAB6C9D3-721F-184C-F677-DC0637A06697}"/>
          </ac:spMkLst>
        </pc:spChg>
      </pc:sldChg>
      <pc:sldChg chg="del">
        <pc:chgData name="Fay, Taylor (CDC/DDPHSS/OD) (CTR)" userId="c622571b-4f02-4950-8906-006a29f9497d" providerId="ADAL" clId="{28207361-72CA-48D2-A117-C44392DCDC18}" dt="2023-08-31T15:32:21.570" v="215" actId="47"/>
        <pc:sldMkLst>
          <pc:docMk/>
          <pc:sldMk cId="30384471" sldId="2147480450"/>
        </pc:sldMkLst>
      </pc:sldChg>
      <pc:sldChg chg="addSp delSp modSp add del mod delCm modCm">
        <pc:chgData name="Fay, Taylor (CDC/DDPHSS/OD) (CTR)" userId="c622571b-4f02-4950-8906-006a29f9497d" providerId="ADAL" clId="{28207361-72CA-48D2-A117-C44392DCDC18}" dt="2023-08-31T16:13:11.524" v="1708" actId="20577"/>
        <pc:sldMkLst>
          <pc:docMk/>
          <pc:sldMk cId="1223733343" sldId="2147480453"/>
        </pc:sldMkLst>
        <pc:spChg chg="add mod">
          <ac:chgData name="Fay, Taylor (CDC/DDPHSS/OD) (CTR)" userId="c622571b-4f02-4950-8906-006a29f9497d" providerId="ADAL" clId="{28207361-72CA-48D2-A117-C44392DCDC18}" dt="2023-08-31T16:05:57.677" v="1543" actId="1036"/>
          <ac:spMkLst>
            <pc:docMk/>
            <pc:sldMk cId="1223733343" sldId="2147480453"/>
            <ac:spMk id="7" creationId="{D1C361FD-95F1-5FC1-BC46-C42C0B1A5914}"/>
          </ac:spMkLst>
        </pc:spChg>
        <pc:spChg chg="add mod">
          <ac:chgData name="Fay, Taylor (CDC/DDPHSS/OD) (CTR)" userId="c622571b-4f02-4950-8906-006a29f9497d" providerId="ADAL" clId="{28207361-72CA-48D2-A117-C44392DCDC18}" dt="2023-08-31T16:05:57.677" v="1543" actId="1036"/>
          <ac:spMkLst>
            <pc:docMk/>
            <pc:sldMk cId="1223733343" sldId="2147480453"/>
            <ac:spMk id="8" creationId="{4806B83B-A692-6DF9-A9B8-1753FAB82244}"/>
          </ac:spMkLst>
        </pc:spChg>
        <pc:spChg chg="add del mod">
          <ac:chgData name="Fay, Taylor (CDC/DDPHSS/OD) (CTR)" userId="c622571b-4f02-4950-8906-006a29f9497d" providerId="ADAL" clId="{28207361-72CA-48D2-A117-C44392DCDC18}" dt="2023-08-31T16:04:06.852" v="1367" actId="478"/>
          <ac:spMkLst>
            <pc:docMk/>
            <pc:sldMk cId="1223733343" sldId="2147480453"/>
            <ac:spMk id="9" creationId="{8B8FFA51-023D-60A9-A1AF-59102B40CFC2}"/>
          </ac:spMkLst>
        </pc:spChg>
        <pc:spChg chg="mod">
          <ac:chgData name="Fay, Taylor (CDC/DDPHSS/OD) (CTR)" userId="c622571b-4f02-4950-8906-006a29f9497d" providerId="ADAL" clId="{28207361-72CA-48D2-A117-C44392DCDC18}" dt="2023-08-31T16:04:01.873" v="1366" actId="20577"/>
          <ac:spMkLst>
            <pc:docMk/>
            <pc:sldMk cId="1223733343" sldId="2147480453"/>
            <ac:spMk id="10" creationId="{EB7AFBB5-7E4F-C656-1930-8D58F9B110FF}"/>
          </ac:spMkLst>
        </pc:spChg>
        <pc:spChg chg="add mod">
          <ac:chgData name="Fay, Taylor (CDC/DDPHSS/OD) (CTR)" userId="c622571b-4f02-4950-8906-006a29f9497d" providerId="ADAL" clId="{28207361-72CA-48D2-A117-C44392DCDC18}" dt="2023-08-31T16:05:53.248" v="1531" actId="1076"/>
          <ac:spMkLst>
            <pc:docMk/>
            <pc:sldMk cId="1223733343" sldId="2147480453"/>
            <ac:spMk id="12" creationId="{9884A522-CE66-9556-80FB-E7FD3A3C2CF2}"/>
          </ac:spMkLst>
        </pc:spChg>
        <pc:spChg chg="add del mod">
          <ac:chgData name="Fay, Taylor (CDC/DDPHSS/OD) (CTR)" userId="c622571b-4f02-4950-8906-006a29f9497d" providerId="ADAL" clId="{28207361-72CA-48D2-A117-C44392DCDC18}" dt="2023-08-31T16:06:08.640" v="1548" actId="478"/>
          <ac:spMkLst>
            <pc:docMk/>
            <pc:sldMk cId="1223733343" sldId="2147480453"/>
            <ac:spMk id="13" creationId="{E5CA67CF-0D40-D2AD-2715-D48CD91B6CCB}"/>
          </ac:spMkLst>
        </pc:spChg>
        <pc:spChg chg="add del mod">
          <ac:chgData name="Fay, Taylor (CDC/DDPHSS/OD) (CTR)" userId="c622571b-4f02-4950-8906-006a29f9497d" providerId="ADAL" clId="{28207361-72CA-48D2-A117-C44392DCDC18}" dt="2023-08-31T16:06:13.389" v="1549" actId="478"/>
          <ac:spMkLst>
            <pc:docMk/>
            <pc:sldMk cId="1223733343" sldId="2147480453"/>
            <ac:spMk id="14" creationId="{43D43DB3-A49D-3D8F-7887-D34A7016AAEB}"/>
          </ac:spMkLst>
        </pc:spChg>
        <pc:spChg chg="add mod">
          <ac:chgData name="Fay, Taylor (CDC/DDPHSS/OD) (CTR)" userId="c622571b-4f02-4950-8906-006a29f9497d" providerId="ADAL" clId="{28207361-72CA-48D2-A117-C44392DCDC18}" dt="2023-08-31T16:06:07.546" v="1547" actId="1076"/>
          <ac:spMkLst>
            <pc:docMk/>
            <pc:sldMk cId="1223733343" sldId="2147480453"/>
            <ac:spMk id="15" creationId="{85FA08D7-236B-6678-82A6-6DD3896BB953}"/>
          </ac:spMkLst>
        </pc:spChg>
        <pc:graphicFrameChg chg="mod modGraphic">
          <ac:chgData name="Fay, Taylor (CDC/DDPHSS/OD) (CTR)" userId="c622571b-4f02-4950-8906-006a29f9497d" providerId="ADAL" clId="{28207361-72CA-48D2-A117-C44392DCDC18}" dt="2023-08-31T16:13:11.524" v="1708" actId="20577"/>
          <ac:graphicFrameMkLst>
            <pc:docMk/>
            <pc:sldMk cId="1223733343" sldId="2147480453"/>
            <ac:graphicFrameMk id="6" creationId="{764867D5-6E53-7223-D23E-06620D392637}"/>
          </ac:graphicFrameMkLst>
        </pc:graphicFrameChg>
      </pc:sldChg>
      <pc:sldChg chg="addSp delSp modSp mod addCm delCm modCm">
        <pc:chgData name="Fay, Taylor (CDC/DDPHSS/OD) (CTR)" userId="c622571b-4f02-4950-8906-006a29f9497d" providerId="ADAL" clId="{28207361-72CA-48D2-A117-C44392DCDC18}" dt="2023-08-31T16:23:59.520" v="1717" actId="20577"/>
        <pc:sldMkLst>
          <pc:docMk/>
          <pc:sldMk cId="2678279329" sldId="2147480454"/>
        </pc:sldMkLst>
        <pc:spChg chg="mod">
          <ac:chgData name="Fay, Taylor (CDC/DDPHSS/OD) (CTR)" userId="c622571b-4f02-4950-8906-006a29f9497d" providerId="ADAL" clId="{28207361-72CA-48D2-A117-C44392DCDC18}" dt="2023-08-31T15:33:38.533" v="231"/>
          <ac:spMkLst>
            <pc:docMk/>
            <pc:sldMk cId="2678279329" sldId="2147480454"/>
            <ac:spMk id="6" creationId="{DEFBBF82-FB55-E951-607C-10D5D80FE809}"/>
          </ac:spMkLst>
        </pc:spChg>
        <pc:spChg chg="mod">
          <ac:chgData name="Fay, Taylor (CDC/DDPHSS/OD) (CTR)" userId="c622571b-4f02-4950-8906-006a29f9497d" providerId="ADAL" clId="{28207361-72CA-48D2-A117-C44392DCDC18}" dt="2023-08-31T15:33:38.533" v="231"/>
          <ac:spMkLst>
            <pc:docMk/>
            <pc:sldMk cId="2678279329" sldId="2147480454"/>
            <ac:spMk id="7" creationId="{A2F15AD5-08DD-B57E-8B14-E5393268F131}"/>
          </ac:spMkLst>
        </pc:spChg>
        <pc:spChg chg="mod">
          <ac:chgData name="Fay, Taylor (CDC/DDPHSS/OD) (CTR)" userId="c622571b-4f02-4950-8906-006a29f9497d" providerId="ADAL" clId="{28207361-72CA-48D2-A117-C44392DCDC18}" dt="2023-08-31T16:00:17.390" v="1010" actId="13926"/>
          <ac:spMkLst>
            <pc:docMk/>
            <pc:sldMk cId="2678279329" sldId="2147480454"/>
            <ac:spMk id="8" creationId="{0128F87F-FF91-964A-85C0-81E091488433}"/>
          </ac:spMkLst>
        </pc:spChg>
        <pc:spChg chg="mod">
          <ac:chgData name="Fay, Taylor (CDC/DDPHSS/OD) (CTR)" userId="c622571b-4f02-4950-8906-006a29f9497d" providerId="ADAL" clId="{28207361-72CA-48D2-A117-C44392DCDC18}" dt="2023-08-31T15:33:38.533" v="231"/>
          <ac:spMkLst>
            <pc:docMk/>
            <pc:sldMk cId="2678279329" sldId="2147480454"/>
            <ac:spMk id="9" creationId="{616BD098-4B3D-1E07-23B2-C8054C1D992A}"/>
          </ac:spMkLst>
        </pc:spChg>
        <pc:spChg chg="mod">
          <ac:chgData name="Fay, Taylor (CDC/DDPHSS/OD) (CTR)" userId="c622571b-4f02-4950-8906-006a29f9497d" providerId="ADAL" clId="{28207361-72CA-48D2-A117-C44392DCDC18}" dt="2023-08-31T15:59:47.593" v="1004" actId="20577"/>
          <ac:spMkLst>
            <pc:docMk/>
            <pc:sldMk cId="2678279329" sldId="2147480454"/>
            <ac:spMk id="10" creationId="{EB7AFBB5-7E4F-C656-1930-8D58F9B110FF}"/>
          </ac:spMkLst>
        </pc:spChg>
        <pc:spChg chg="mod">
          <ac:chgData name="Fay, Taylor (CDC/DDPHSS/OD) (CTR)" userId="c622571b-4f02-4950-8906-006a29f9497d" providerId="ADAL" clId="{28207361-72CA-48D2-A117-C44392DCDC18}" dt="2023-08-31T15:33:38.533" v="231"/>
          <ac:spMkLst>
            <pc:docMk/>
            <pc:sldMk cId="2678279329" sldId="2147480454"/>
            <ac:spMk id="12" creationId="{FC510FFC-55BA-A02D-CFA3-BEB6392B0110}"/>
          </ac:spMkLst>
        </pc:spChg>
        <pc:spChg chg="del mod">
          <ac:chgData name="Fay, Taylor (CDC/DDPHSS/OD) (CTR)" userId="c622571b-4f02-4950-8906-006a29f9497d" providerId="ADAL" clId="{28207361-72CA-48D2-A117-C44392DCDC18}" dt="2023-08-31T15:41:48.885" v="643" actId="478"/>
          <ac:spMkLst>
            <pc:docMk/>
            <pc:sldMk cId="2678279329" sldId="2147480454"/>
            <ac:spMk id="13" creationId="{FCF6D7BC-8729-2C04-0884-34067D7B0304}"/>
          </ac:spMkLst>
        </pc:spChg>
        <pc:spChg chg="del mod">
          <ac:chgData name="Fay, Taylor (CDC/DDPHSS/OD) (CTR)" userId="c622571b-4f02-4950-8906-006a29f9497d" providerId="ADAL" clId="{28207361-72CA-48D2-A117-C44392DCDC18}" dt="2023-08-31T15:38:48.312" v="511" actId="478"/>
          <ac:spMkLst>
            <pc:docMk/>
            <pc:sldMk cId="2678279329" sldId="2147480454"/>
            <ac:spMk id="15" creationId="{385CD3C8-A7B9-3CDE-D137-DC01A0AAE04D}"/>
          </ac:spMkLst>
        </pc:spChg>
        <pc:spChg chg="del mod">
          <ac:chgData name="Fay, Taylor (CDC/DDPHSS/OD) (CTR)" userId="c622571b-4f02-4950-8906-006a29f9497d" providerId="ADAL" clId="{28207361-72CA-48D2-A117-C44392DCDC18}" dt="2023-08-31T15:38:54.670" v="514" actId="478"/>
          <ac:spMkLst>
            <pc:docMk/>
            <pc:sldMk cId="2678279329" sldId="2147480454"/>
            <ac:spMk id="16" creationId="{02125598-4737-089B-F5E7-9376F8BA65FE}"/>
          </ac:spMkLst>
        </pc:spChg>
        <pc:spChg chg="del">
          <ac:chgData name="Fay, Taylor (CDC/DDPHSS/OD) (CTR)" userId="c622571b-4f02-4950-8906-006a29f9497d" providerId="ADAL" clId="{28207361-72CA-48D2-A117-C44392DCDC18}" dt="2023-08-31T15:33:00.079" v="218" actId="478"/>
          <ac:spMkLst>
            <pc:docMk/>
            <pc:sldMk cId="2678279329" sldId="2147480454"/>
            <ac:spMk id="17" creationId="{563DA0AA-6DC4-BD7F-0150-B8887657CDE1}"/>
          </ac:spMkLst>
        </pc:spChg>
        <pc:spChg chg="del">
          <ac:chgData name="Fay, Taylor (CDC/DDPHSS/OD) (CTR)" userId="c622571b-4f02-4950-8906-006a29f9497d" providerId="ADAL" clId="{28207361-72CA-48D2-A117-C44392DCDC18}" dt="2023-08-31T15:33:53.625" v="236" actId="478"/>
          <ac:spMkLst>
            <pc:docMk/>
            <pc:sldMk cId="2678279329" sldId="2147480454"/>
            <ac:spMk id="18" creationId="{173D1654-EC9F-4D54-3EB0-DC9E8C6D96CB}"/>
          </ac:spMkLst>
        </pc:spChg>
        <pc:spChg chg="del mod">
          <ac:chgData name="Fay, Taylor (CDC/DDPHSS/OD) (CTR)" userId="c622571b-4f02-4950-8906-006a29f9497d" providerId="ADAL" clId="{28207361-72CA-48D2-A117-C44392DCDC18}" dt="2023-08-31T15:38:51.021" v="512" actId="478"/>
          <ac:spMkLst>
            <pc:docMk/>
            <pc:sldMk cId="2678279329" sldId="2147480454"/>
            <ac:spMk id="19" creationId="{757C56C8-46A4-68F9-FAA0-4A6C232A6C47}"/>
          </ac:spMkLst>
        </pc:spChg>
        <pc:spChg chg="add mod">
          <ac:chgData name="Fay, Taylor (CDC/DDPHSS/OD) (CTR)" userId="c622571b-4f02-4950-8906-006a29f9497d" providerId="ADAL" clId="{28207361-72CA-48D2-A117-C44392DCDC18}" dt="2023-08-31T15:54:17.809" v="893" actId="404"/>
          <ac:spMkLst>
            <pc:docMk/>
            <pc:sldMk cId="2678279329" sldId="2147480454"/>
            <ac:spMk id="26" creationId="{C04EC5E9-3348-CF6F-EDAF-7793F73ECA64}"/>
          </ac:spMkLst>
        </pc:spChg>
        <pc:spChg chg="add mod ord">
          <ac:chgData name="Fay, Taylor (CDC/DDPHSS/OD) (CTR)" userId="c622571b-4f02-4950-8906-006a29f9497d" providerId="ADAL" clId="{28207361-72CA-48D2-A117-C44392DCDC18}" dt="2023-08-31T15:41:13.920" v="591" actId="1076"/>
          <ac:spMkLst>
            <pc:docMk/>
            <pc:sldMk cId="2678279329" sldId="2147480454"/>
            <ac:spMk id="29" creationId="{51D7B663-3F36-DA89-E014-2E49B72EF4CA}"/>
          </ac:spMkLst>
        </pc:spChg>
        <pc:spChg chg="add mod">
          <ac:chgData name="Fay, Taylor (CDC/DDPHSS/OD) (CTR)" userId="c622571b-4f02-4950-8906-006a29f9497d" providerId="ADAL" clId="{28207361-72CA-48D2-A117-C44392DCDC18}" dt="2023-08-31T15:44:06.696" v="687" actId="554"/>
          <ac:spMkLst>
            <pc:docMk/>
            <pc:sldMk cId="2678279329" sldId="2147480454"/>
            <ac:spMk id="30" creationId="{8BE8917A-CBDA-AED5-F44E-ABBF0714BB8C}"/>
          </ac:spMkLst>
        </pc:spChg>
        <pc:spChg chg="add del mod">
          <ac:chgData name="Fay, Taylor (CDC/DDPHSS/OD) (CTR)" userId="c622571b-4f02-4950-8906-006a29f9497d" providerId="ADAL" clId="{28207361-72CA-48D2-A117-C44392DCDC18}" dt="2023-08-31T15:58:40.884" v="972" actId="478"/>
          <ac:spMkLst>
            <pc:docMk/>
            <pc:sldMk cId="2678279329" sldId="2147480454"/>
            <ac:spMk id="31" creationId="{932C7D78-4D63-DBE8-8ADB-DBF602DD68BC}"/>
          </ac:spMkLst>
        </pc:spChg>
        <pc:spChg chg="add mod">
          <ac:chgData name="Fay, Taylor (CDC/DDPHSS/OD) (CTR)" userId="c622571b-4f02-4950-8906-006a29f9497d" providerId="ADAL" clId="{28207361-72CA-48D2-A117-C44392DCDC18}" dt="2023-08-31T16:23:59.520" v="1717" actId="20577"/>
          <ac:spMkLst>
            <pc:docMk/>
            <pc:sldMk cId="2678279329" sldId="2147480454"/>
            <ac:spMk id="33" creationId="{6788245C-8ADF-E0BE-96AA-3C98AE968592}"/>
          </ac:spMkLst>
        </pc:spChg>
        <pc:grpChg chg="add mod">
          <ac:chgData name="Fay, Taylor (CDC/DDPHSS/OD) (CTR)" userId="c622571b-4f02-4950-8906-006a29f9497d" providerId="ADAL" clId="{28207361-72CA-48D2-A117-C44392DCDC18}" dt="2023-08-31T15:33:44.112" v="234" actId="14100"/>
          <ac:grpSpMkLst>
            <pc:docMk/>
            <pc:sldMk cId="2678279329" sldId="2147480454"/>
            <ac:grpSpMk id="3" creationId="{CEAD2D18-E218-068B-2942-12A9A43FE38B}"/>
          </ac:grpSpMkLst>
        </pc:grpChg>
        <pc:graphicFrameChg chg="del">
          <ac:chgData name="Fay, Taylor (CDC/DDPHSS/OD) (CTR)" userId="c622571b-4f02-4950-8906-006a29f9497d" providerId="ADAL" clId="{28207361-72CA-48D2-A117-C44392DCDC18}" dt="2023-08-31T15:33:00.079" v="218" actId="478"/>
          <ac:graphicFrameMkLst>
            <pc:docMk/>
            <pc:sldMk cId="2678279329" sldId="2147480454"/>
            <ac:graphicFrameMk id="14" creationId="{60DFC0D1-9356-FCF7-DFF6-75EAEDD413D9}"/>
          </ac:graphicFrameMkLst>
        </pc:graphicFrameChg>
        <pc:cxnChg chg="mod">
          <ac:chgData name="Fay, Taylor (CDC/DDPHSS/OD) (CTR)" userId="c622571b-4f02-4950-8906-006a29f9497d" providerId="ADAL" clId="{28207361-72CA-48D2-A117-C44392DCDC18}" dt="2023-08-31T15:33:38.533" v="231"/>
          <ac:cxnSpMkLst>
            <pc:docMk/>
            <pc:sldMk cId="2678279329" sldId="2147480454"/>
            <ac:cxnSpMk id="20" creationId="{6700545A-D726-29ED-14D1-24BFF8737C6E}"/>
          </ac:cxnSpMkLst>
        </pc:cxnChg>
        <pc:cxnChg chg="mod">
          <ac:chgData name="Fay, Taylor (CDC/DDPHSS/OD) (CTR)" userId="c622571b-4f02-4950-8906-006a29f9497d" providerId="ADAL" clId="{28207361-72CA-48D2-A117-C44392DCDC18}" dt="2023-08-31T15:33:38.533" v="231"/>
          <ac:cxnSpMkLst>
            <pc:docMk/>
            <pc:sldMk cId="2678279329" sldId="2147480454"/>
            <ac:cxnSpMk id="21" creationId="{C2151D27-F5C4-5224-1BF0-73E73E427D8B}"/>
          </ac:cxnSpMkLst>
        </pc:cxnChg>
        <pc:cxnChg chg="mod">
          <ac:chgData name="Fay, Taylor (CDC/DDPHSS/OD) (CTR)" userId="c622571b-4f02-4950-8906-006a29f9497d" providerId="ADAL" clId="{28207361-72CA-48D2-A117-C44392DCDC18}" dt="2023-08-31T15:33:38.533" v="231"/>
          <ac:cxnSpMkLst>
            <pc:docMk/>
            <pc:sldMk cId="2678279329" sldId="2147480454"/>
            <ac:cxnSpMk id="22" creationId="{88BB3AD7-1927-2FC2-5C8A-5884BF083311}"/>
          </ac:cxnSpMkLst>
        </pc:cxnChg>
        <pc:cxnChg chg="mod">
          <ac:chgData name="Fay, Taylor (CDC/DDPHSS/OD) (CTR)" userId="c622571b-4f02-4950-8906-006a29f9497d" providerId="ADAL" clId="{28207361-72CA-48D2-A117-C44392DCDC18}" dt="2023-08-31T15:33:38.533" v="231"/>
          <ac:cxnSpMkLst>
            <pc:docMk/>
            <pc:sldMk cId="2678279329" sldId="2147480454"/>
            <ac:cxnSpMk id="23" creationId="{6224F043-C043-E6CC-B0FE-51D5FE960DDA}"/>
          </ac:cxnSpMkLst>
        </pc:cxnChg>
        <pc:cxnChg chg="mod">
          <ac:chgData name="Fay, Taylor (CDC/DDPHSS/OD) (CTR)" userId="c622571b-4f02-4950-8906-006a29f9497d" providerId="ADAL" clId="{28207361-72CA-48D2-A117-C44392DCDC18}" dt="2023-08-31T15:33:38.533" v="231"/>
          <ac:cxnSpMkLst>
            <pc:docMk/>
            <pc:sldMk cId="2678279329" sldId="2147480454"/>
            <ac:cxnSpMk id="24" creationId="{C035A480-55A0-0B92-9882-D17583C7B8FA}"/>
          </ac:cxnSpMkLst>
        </pc:cxnChg>
        <pc:cxnChg chg="mod">
          <ac:chgData name="Fay, Taylor (CDC/DDPHSS/OD) (CTR)" userId="c622571b-4f02-4950-8906-006a29f9497d" providerId="ADAL" clId="{28207361-72CA-48D2-A117-C44392DCDC18}" dt="2023-08-31T15:33:38.533" v="231"/>
          <ac:cxnSpMkLst>
            <pc:docMk/>
            <pc:sldMk cId="2678279329" sldId="2147480454"/>
            <ac:cxnSpMk id="25" creationId="{BF841030-FC8E-910A-6F08-6DA028FF8740}"/>
          </ac:cxnSpMkLst>
        </pc:cxnChg>
        <pc:cxnChg chg="add del">
          <ac:chgData name="Fay, Taylor (CDC/DDPHSS/OD) (CTR)" userId="c622571b-4f02-4950-8906-006a29f9497d" providerId="ADAL" clId="{28207361-72CA-48D2-A117-C44392DCDC18}" dt="2023-08-31T15:39:05.895" v="516" actId="478"/>
          <ac:cxnSpMkLst>
            <pc:docMk/>
            <pc:sldMk cId="2678279329" sldId="2147480454"/>
            <ac:cxnSpMk id="28" creationId="{96B2B036-5D9D-10F6-9CFA-E217578F332F}"/>
          </ac:cxnSpMkLst>
        </pc:cxnChg>
      </pc:sldChg>
      <pc:sldChg chg="addSp delSp modSp mod">
        <pc:chgData name="Fay, Taylor (CDC/DDPHSS/OD) (CTR)" userId="c622571b-4f02-4950-8906-006a29f9497d" providerId="ADAL" clId="{28207361-72CA-48D2-A117-C44392DCDC18}" dt="2023-08-31T16:13:22.998" v="1716" actId="20577"/>
        <pc:sldMkLst>
          <pc:docMk/>
          <pc:sldMk cId="2985194141" sldId="2147480455"/>
        </pc:sldMkLst>
        <pc:spChg chg="add mod">
          <ac:chgData name="Fay, Taylor (CDC/DDPHSS/OD) (CTR)" userId="c622571b-4f02-4950-8906-006a29f9497d" providerId="ADAL" clId="{28207361-72CA-48D2-A117-C44392DCDC18}" dt="2023-08-31T15:31:49.689" v="211" actId="164"/>
          <ac:spMkLst>
            <pc:docMk/>
            <pc:sldMk cId="2985194141" sldId="2147480455"/>
            <ac:spMk id="3" creationId="{7DAFB845-A286-617E-6001-49DD43EA2B2E}"/>
          </ac:spMkLst>
        </pc:spChg>
        <pc:spChg chg="add mod">
          <ac:chgData name="Fay, Taylor (CDC/DDPHSS/OD) (CTR)" userId="c622571b-4f02-4950-8906-006a29f9497d" providerId="ADAL" clId="{28207361-72CA-48D2-A117-C44392DCDC18}" dt="2023-08-31T15:31:49.689" v="211" actId="164"/>
          <ac:spMkLst>
            <pc:docMk/>
            <pc:sldMk cId="2985194141" sldId="2147480455"/>
            <ac:spMk id="6" creationId="{148254F2-E57F-1D9B-0AEE-21BF356EA86C}"/>
          </ac:spMkLst>
        </pc:spChg>
        <pc:spChg chg="add mod">
          <ac:chgData name="Fay, Taylor (CDC/DDPHSS/OD) (CTR)" userId="c622571b-4f02-4950-8906-006a29f9497d" providerId="ADAL" clId="{28207361-72CA-48D2-A117-C44392DCDC18}" dt="2023-08-31T15:31:49.689" v="211" actId="164"/>
          <ac:spMkLst>
            <pc:docMk/>
            <pc:sldMk cId="2985194141" sldId="2147480455"/>
            <ac:spMk id="7" creationId="{F025D692-87F3-56EA-8CDA-A6B3CA313052}"/>
          </ac:spMkLst>
        </pc:spChg>
        <pc:spChg chg="add mod">
          <ac:chgData name="Fay, Taylor (CDC/DDPHSS/OD) (CTR)" userId="c622571b-4f02-4950-8906-006a29f9497d" providerId="ADAL" clId="{28207361-72CA-48D2-A117-C44392DCDC18}" dt="2023-08-31T15:31:49.689" v="211" actId="164"/>
          <ac:spMkLst>
            <pc:docMk/>
            <pc:sldMk cId="2985194141" sldId="2147480455"/>
            <ac:spMk id="8" creationId="{6E5A2C44-937E-0FF9-7965-5E2A07C39A6C}"/>
          </ac:spMkLst>
        </pc:spChg>
        <pc:spChg chg="mod">
          <ac:chgData name="Fay, Taylor (CDC/DDPHSS/OD) (CTR)" userId="c622571b-4f02-4950-8906-006a29f9497d" providerId="ADAL" clId="{28207361-72CA-48D2-A117-C44392DCDC18}" dt="2023-08-31T16:13:22.998" v="1716" actId="20577"/>
          <ac:spMkLst>
            <pc:docMk/>
            <pc:sldMk cId="2985194141" sldId="2147480455"/>
            <ac:spMk id="10" creationId="{EB7AFBB5-7E4F-C656-1930-8D58F9B110FF}"/>
          </ac:spMkLst>
        </pc:spChg>
        <pc:spChg chg="add mod">
          <ac:chgData name="Fay, Taylor (CDC/DDPHSS/OD) (CTR)" userId="c622571b-4f02-4950-8906-006a29f9497d" providerId="ADAL" clId="{28207361-72CA-48D2-A117-C44392DCDC18}" dt="2023-08-31T15:31:49.689" v="211" actId="164"/>
          <ac:spMkLst>
            <pc:docMk/>
            <pc:sldMk cId="2985194141" sldId="2147480455"/>
            <ac:spMk id="13" creationId="{8949004F-95A6-A828-4EE5-D7C9063D6C34}"/>
          </ac:spMkLst>
        </pc:spChg>
        <pc:spChg chg="mod">
          <ac:chgData name="Fay, Taylor (CDC/DDPHSS/OD) (CTR)" userId="c622571b-4f02-4950-8906-006a29f9497d" providerId="ADAL" clId="{28207361-72CA-48D2-A117-C44392DCDC18}" dt="2023-08-31T15:59:22.282" v="979" actId="1076"/>
          <ac:spMkLst>
            <pc:docMk/>
            <pc:sldMk cId="2985194141" sldId="2147480455"/>
            <ac:spMk id="17" creationId="{563DA0AA-6DC4-BD7F-0150-B8887657CDE1}"/>
          </ac:spMkLst>
        </pc:spChg>
        <pc:spChg chg="add del mod">
          <ac:chgData name="Fay, Taylor (CDC/DDPHSS/OD) (CTR)" userId="c622571b-4f02-4950-8906-006a29f9497d" providerId="ADAL" clId="{28207361-72CA-48D2-A117-C44392DCDC18}" dt="2023-08-31T15:29:22.145" v="180" actId="478"/>
          <ac:spMkLst>
            <pc:docMk/>
            <pc:sldMk cId="2985194141" sldId="2147480455"/>
            <ac:spMk id="53" creationId="{BB10CD90-DE9A-A71C-B691-4F8C0A1A6FE3}"/>
          </ac:spMkLst>
        </pc:spChg>
        <pc:grpChg chg="add del mod">
          <ac:chgData name="Fay, Taylor (CDC/DDPHSS/OD) (CTR)" userId="c622571b-4f02-4950-8906-006a29f9497d" providerId="ADAL" clId="{28207361-72CA-48D2-A117-C44392DCDC18}" dt="2023-08-31T15:55:11.566" v="895" actId="478"/>
          <ac:grpSpMkLst>
            <pc:docMk/>
            <pc:sldMk cId="2985194141" sldId="2147480455"/>
            <ac:grpSpMk id="54" creationId="{11676549-03AE-2924-0645-0AC500107E5F}"/>
          </ac:grpSpMkLst>
        </pc:grpChg>
        <pc:graphicFrameChg chg="mod modGraphic">
          <ac:chgData name="Fay, Taylor (CDC/DDPHSS/OD) (CTR)" userId="c622571b-4f02-4950-8906-006a29f9497d" providerId="ADAL" clId="{28207361-72CA-48D2-A117-C44392DCDC18}" dt="2023-08-31T16:03:17.515" v="1260" actId="14100"/>
          <ac:graphicFrameMkLst>
            <pc:docMk/>
            <pc:sldMk cId="2985194141" sldId="2147480455"/>
            <ac:graphicFrameMk id="14" creationId="{60DFC0D1-9356-FCF7-DFF6-75EAEDD413D9}"/>
          </ac:graphicFrameMkLst>
        </pc:graphicFrameChg>
        <pc:cxnChg chg="add mod">
          <ac:chgData name="Fay, Taylor (CDC/DDPHSS/OD) (CTR)" userId="c622571b-4f02-4950-8906-006a29f9497d" providerId="ADAL" clId="{28207361-72CA-48D2-A117-C44392DCDC18}" dt="2023-08-31T15:55:11.566" v="895" actId="478"/>
          <ac:cxnSpMkLst>
            <pc:docMk/>
            <pc:sldMk cId="2985194141" sldId="2147480455"/>
            <ac:cxnSpMk id="16" creationId="{68FCC2F7-38D3-FAF4-0692-8DDADA9B67F5}"/>
          </ac:cxnSpMkLst>
        </pc:cxnChg>
        <pc:cxnChg chg="add mod">
          <ac:chgData name="Fay, Taylor (CDC/DDPHSS/OD) (CTR)" userId="c622571b-4f02-4950-8906-006a29f9497d" providerId="ADAL" clId="{28207361-72CA-48D2-A117-C44392DCDC18}" dt="2023-08-31T15:55:11.566" v="895" actId="478"/>
          <ac:cxnSpMkLst>
            <pc:docMk/>
            <pc:sldMk cId="2985194141" sldId="2147480455"/>
            <ac:cxnSpMk id="19" creationId="{B63DB8C0-722E-A198-3C0A-8C3E8F088204}"/>
          </ac:cxnSpMkLst>
        </pc:cxnChg>
        <pc:cxnChg chg="add del mod">
          <ac:chgData name="Fay, Taylor (CDC/DDPHSS/OD) (CTR)" userId="c622571b-4f02-4950-8906-006a29f9497d" providerId="ADAL" clId="{28207361-72CA-48D2-A117-C44392DCDC18}" dt="2023-08-31T15:55:09.083" v="894" actId="478"/>
          <ac:cxnSpMkLst>
            <pc:docMk/>
            <pc:sldMk cId="2985194141" sldId="2147480455"/>
            <ac:cxnSpMk id="42" creationId="{7FCE450D-2347-FC8F-AEB5-B006BD2276E9}"/>
          </ac:cxnSpMkLst>
        </pc:cxnChg>
        <pc:cxnChg chg="add del mod">
          <ac:chgData name="Fay, Taylor (CDC/DDPHSS/OD) (CTR)" userId="c622571b-4f02-4950-8906-006a29f9497d" providerId="ADAL" clId="{28207361-72CA-48D2-A117-C44392DCDC18}" dt="2023-08-31T15:27:37.640" v="119" actId="478"/>
          <ac:cxnSpMkLst>
            <pc:docMk/>
            <pc:sldMk cId="2985194141" sldId="2147480455"/>
            <ac:cxnSpMk id="44" creationId="{DE12314A-EC2D-8E75-C4BD-DE9AD58D45CF}"/>
          </ac:cxnSpMkLst>
        </pc:cxnChg>
        <pc:cxnChg chg="add mod">
          <ac:chgData name="Fay, Taylor (CDC/DDPHSS/OD) (CTR)" userId="c622571b-4f02-4950-8906-006a29f9497d" providerId="ADAL" clId="{28207361-72CA-48D2-A117-C44392DCDC18}" dt="2023-08-31T15:55:11.566" v="895" actId="478"/>
          <ac:cxnSpMkLst>
            <pc:docMk/>
            <pc:sldMk cId="2985194141" sldId="2147480455"/>
            <ac:cxnSpMk id="46" creationId="{2F9353BB-9BFD-4CC4-20ED-5E17BAA0167A}"/>
          </ac:cxnSpMkLst>
        </pc:cxnChg>
        <pc:cxnChg chg="add mod">
          <ac:chgData name="Fay, Taylor (CDC/DDPHSS/OD) (CTR)" userId="c622571b-4f02-4950-8906-006a29f9497d" providerId="ADAL" clId="{28207361-72CA-48D2-A117-C44392DCDC18}" dt="2023-08-31T15:55:11.566" v="895" actId="478"/>
          <ac:cxnSpMkLst>
            <pc:docMk/>
            <pc:sldMk cId="2985194141" sldId="2147480455"/>
            <ac:cxnSpMk id="48" creationId="{42BDF771-1584-F146-9316-EA8C281007E5}"/>
          </ac:cxnSpMkLst>
        </pc:cxnChg>
        <pc:cxnChg chg="add mod">
          <ac:chgData name="Fay, Taylor (CDC/DDPHSS/OD) (CTR)" userId="c622571b-4f02-4950-8906-006a29f9497d" providerId="ADAL" clId="{28207361-72CA-48D2-A117-C44392DCDC18}" dt="2023-08-31T15:55:11.566" v="895" actId="478"/>
          <ac:cxnSpMkLst>
            <pc:docMk/>
            <pc:sldMk cId="2985194141" sldId="2147480455"/>
            <ac:cxnSpMk id="50" creationId="{1EE91E73-3DFB-C487-A250-5680072B09D4}"/>
          </ac:cxnSpMkLst>
        </pc:cxnChg>
      </pc:sldChg>
    </pc:docChg>
  </pc:docChgLst>
  <pc:docChgLst>
    <pc:chgData name="Sargent, Aryn (CDC/DDPHSS/OD) (CTR)" userId="S::tny8@cdc.gov::d69ab2df-90f7-49a9-a41f-dbae54c01443" providerId="AD" clId="Web-{851F55CE-0459-07BD-E617-9CCC5507F68B}"/>
    <pc:docChg chg="modSld">
      <pc:chgData name="Sargent, Aryn (CDC/DDPHSS/OD) (CTR)" userId="S::tny8@cdc.gov::d69ab2df-90f7-49a9-a41f-dbae54c01443" providerId="AD" clId="Web-{851F55CE-0459-07BD-E617-9CCC5507F68B}" dt="2023-08-31T14:47:35.700" v="9"/>
      <pc:docMkLst>
        <pc:docMk/>
      </pc:docMkLst>
      <pc:sldChg chg="modSp modCm">
        <pc:chgData name="Sargent, Aryn (CDC/DDPHSS/OD) (CTR)" userId="S::tny8@cdc.gov::d69ab2df-90f7-49a9-a41f-dbae54c01443" providerId="AD" clId="Web-{851F55CE-0459-07BD-E617-9CCC5507F68B}" dt="2023-08-31T14:47:35.700" v="9"/>
        <pc:sldMkLst>
          <pc:docMk/>
          <pc:sldMk cId="2678279329" sldId="2147480454"/>
        </pc:sldMkLst>
        <pc:spChg chg="mod">
          <ac:chgData name="Sargent, Aryn (CDC/DDPHSS/OD) (CTR)" userId="S::tny8@cdc.gov::d69ab2df-90f7-49a9-a41f-dbae54c01443" providerId="AD" clId="Web-{851F55CE-0459-07BD-E617-9CCC5507F68B}" dt="2023-08-31T14:32:47.031" v="8" actId="20577"/>
          <ac:spMkLst>
            <pc:docMk/>
            <pc:sldMk cId="2678279329" sldId="2147480454"/>
            <ac:spMk id="13" creationId="{FCF6D7BC-8729-2C04-0884-34067D7B0304}"/>
          </ac:spMkLst>
        </pc:spChg>
        <pc:spChg chg="mod">
          <ac:chgData name="Sargent, Aryn (CDC/DDPHSS/OD) (CTR)" userId="S::tny8@cdc.gov::d69ab2df-90f7-49a9-a41f-dbae54c01443" providerId="AD" clId="Web-{851F55CE-0459-07BD-E617-9CCC5507F68B}" dt="2023-08-31T14:32:10.484" v="4" actId="20577"/>
          <ac:spMkLst>
            <pc:docMk/>
            <pc:sldMk cId="2678279329" sldId="2147480454"/>
            <ac:spMk id="16" creationId="{02125598-4737-089B-F5E7-9376F8BA65FE}"/>
          </ac:spMkLst>
        </pc:spChg>
        <pc:spChg chg="mod">
          <ac:chgData name="Sargent, Aryn (CDC/DDPHSS/OD) (CTR)" userId="S::tny8@cdc.gov::d69ab2df-90f7-49a9-a41f-dbae54c01443" providerId="AD" clId="Web-{851F55CE-0459-07BD-E617-9CCC5507F68B}" dt="2023-08-31T14:31:58.265" v="2" actId="20577"/>
          <ac:spMkLst>
            <pc:docMk/>
            <pc:sldMk cId="2678279329" sldId="2147480454"/>
            <ac:spMk id="18" creationId="{173D1654-EC9F-4D54-3EB0-DC9E8C6D96CB}"/>
          </ac:spMkLst>
        </pc:spChg>
        <pc:spChg chg="mod">
          <ac:chgData name="Sargent, Aryn (CDC/DDPHSS/OD) (CTR)" userId="S::tny8@cdc.gov::d69ab2df-90f7-49a9-a41f-dbae54c01443" providerId="AD" clId="Web-{851F55CE-0459-07BD-E617-9CCC5507F68B}" dt="2023-08-31T14:32:45.422" v="7" actId="20577"/>
          <ac:spMkLst>
            <pc:docMk/>
            <pc:sldMk cId="2678279329" sldId="2147480454"/>
            <ac:spMk id="19" creationId="{757C56C8-46A4-68F9-FAA0-4A6C232A6C47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Sargent, Aryn (CDC/DDPHSS/OD) (CTR)" userId="S::tny8@cdc.gov::d69ab2df-90f7-49a9-a41f-dbae54c01443" providerId="AD" clId="Web-{851F55CE-0459-07BD-E617-9CCC5507F68B}" dt="2023-08-31T14:47:35.700" v="9"/>
              <pc2:cmMkLst xmlns:pc2="http://schemas.microsoft.com/office/powerpoint/2019/9/main/command">
                <pc:docMk/>
                <pc:sldMk cId="2678279329" sldId="2147480454"/>
                <pc2:cmMk id="{678EF712-B033-42BF-A210-25C8A4E2C6E8}"/>
              </pc2:cmMkLst>
              <pc226:cmRplyChg chg="add">
                <pc226:chgData name="Sargent, Aryn (CDC/DDPHSS/OD) (CTR)" userId="S::tny8@cdc.gov::d69ab2df-90f7-49a9-a41f-dbae54c01443" providerId="AD" clId="Web-{851F55CE-0459-07BD-E617-9CCC5507F68B}" dt="2023-08-31T14:47:35.700" v="9"/>
                <pc2:cmRplyMkLst xmlns:pc2="http://schemas.microsoft.com/office/powerpoint/2019/9/main/command">
                  <pc:docMk/>
                  <pc:sldMk cId="2678279329" sldId="2147480454"/>
                  <pc2:cmMk id="{678EF712-B033-42BF-A210-25C8A4E2C6E8}"/>
                  <pc2:cmRplyMk id="{AD0A8C52-A5FB-49B9-B02E-E34A196ABFEE}"/>
                </pc2:cmRplyMkLst>
              </pc226:cmRplyChg>
            </pc226:cmChg>
          </p:ext>
        </pc:extLst>
      </pc:sldChg>
    </pc:docChg>
  </pc:docChgLst>
  <pc:docChgLst>
    <pc:chgData name="Jiwani, Sahil (CDC/DDPHSS/OD) (CTR)" userId="36979ee3-d108-44a0-9f87-1b615dc81683" providerId="ADAL" clId="{9341A7ED-CD6C-436D-95DB-EEEE4649128C}"/>
    <pc:docChg chg="undo custSel addSld modSld">
      <pc:chgData name="Jiwani, Sahil (CDC/DDPHSS/OD) (CTR)" userId="36979ee3-d108-44a0-9f87-1b615dc81683" providerId="ADAL" clId="{9341A7ED-CD6C-436D-95DB-EEEE4649128C}" dt="2023-08-31T15:47:10.747" v="92"/>
      <pc:docMkLst>
        <pc:docMk/>
      </pc:docMkLst>
      <pc:sldChg chg="delCm">
        <pc:chgData name="Jiwani, Sahil (CDC/DDPHSS/OD) (CTR)" userId="36979ee3-d108-44a0-9f87-1b615dc81683" providerId="ADAL" clId="{9341A7ED-CD6C-436D-95DB-EEEE4649128C}" dt="2023-08-31T15:47:10.747" v="92"/>
        <pc:sldMkLst>
          <pc:docMk/>
          <pc:sldMk cId="1018827166" sldId="2147480428"/>
        </pc:sldMkLst>
      </pc:sldChg>
      <pc:sldChg chg="addCm">
        <pc:chgData name="Jiwani, Sahil (CDC/DDPHSS/OD) (CTR)" userId="36979ee3-d108-44a0-9f87-1b615dc81683" providerId="ADAL" clId="{9341A7ED-CD6C-436D-95DB-EEEE4649128C}" dt="2023-08-31T13:09:51.536" v="0"/>
        <pc:sldMkLst>
          <pc:docMk/>
          <pc:sldMk cId="1223733343" sldId="2147480453"/>
        </pc:sldMkLst>
      </pc:sldChg>
      <pc:sldChg chg="addSp delSp modSp add mod">
        <pc:chgData name="Jiwani, Sahil (CDC/DDPHSS/OD) (CTR)" userId="36979ee3-d108-44a0-9f87-1b615dc81683" providerId="ADAL" clId="{9341A7ED-CD6C-436D-95DB-EEEE4649128C}" dt="2023-08-31T15:22:38.579" v="91" actId="478"/>
        <pc:sldMkLst>
          <pc:docMk/>
          <pc:sldMk cId="2985194141" sldId="2147480455"/>
        </pc:sldMkLst>
        <pc:spChg chg="add del mod">
          <ac:chgData name="Jiwani, Sahil (CDC/DDPHSS/OD) (CTR)" userId="36979ee3-d108-44a0-9f87-1b615dc81683" providerId="ADAL" clId="{9341A7ED-CD6C-436D-95DB-EEEE4649128C}" dt="2023-08-31T15:07:03.284" v="14" actId="478"/>
          <ac:spMkLst>
            <pc:docMk/>
            <pc:sldMk cId="2985194141" sldId="2147480455"/>
            <ac:spMk id="9" creationId="{0B8A5DB6-C3B9-9564-CD80-06FDBDC992B4}"/>
          </ac:spMkLst>
        </pc:spChg>
        <pc:spChg chg="mod">
          <ac:chgData name="Jiwani, Sahil (CDC/DDPHSS/OD) (CTR)" userId="36979ee3-d108-44a0-9f87-1b615dc81683" providerId="ADAL" clId="{9341A7ED-CD6C-436D-95DB-EEEE4649128C}" dt="2023-08-31T15:08:11.140" v="21" actId="1076"/>
          <ac:spMkLst>
            <pc:docMk/>
            <pc:sldMk cId="2985194141" sldId="2147480455"/>
            <ac:spMk id="10" creationId="{EB7AFBB5-7E4F-C656-1930-8D58F9B110FF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12" creationId="{4C0A5AB0-68A9-C264-193D-8B44313EC535}"/>
          </ac:spMkLst>
        </pc:spChg>
        <pc:spChg chg="del">
          <ac:chgData name="Jiwani, Sahil (CDC/DDPHSS/OD) (CTR)" userId="36979ee3-d108-44a0-9f87-1b615dc81683" providerId="ADAL" clId="{9341A7ED-CD6C-436D-95DB-EEEE4649128C}" dt="2023-08-31T13:48:10.803" v="7" actId="478"/>
          <ac:spMkLst>
            <pc:docMk/>
            <pc:sldMk cId="2985194141" sldId="2147480455"/>
            <ac:spMk id="13" creationId="{FCF6D7BC-8729-2C04-0884-34067D7B0304}"/>
          </ac:spMkLst>
        </pc:spChg>
        <pc:spChg chg="del">
          <ac:chgData name="Jiwani, Sahil (CDC/DDPHSS/OD) (CTR)" userId="36979ee3-d108-44a0-9f87-1b615dc81683" providerId="ADAL" clId="{9341A7ED-CD6C-436D-95DB-EEEE4649128C}" dt="2023-08-31T13:48:06.371" v="5" actId="478"/>
          <ac:spMkLst>
            <pc:docMk/>
            <pc:sldMk cId="2985194141" sldId="2147480455"/>
            <ac:spMk id="15" creationId="{385CD3C8-A7B9-3CDE-D137-DC01A0AAE04D}"/>
          </ac:spMkLst>
        </pc:spChg>
        <pc:spChg chg="del mod">
          <ac:chgData name="Jiwani, Sahil (CDC/DDPHSS/OD) (CTR)" userId="36979ee3-d108-44a0-9f87-1b615dc81683" providerId="ADAL" clId="{9341A7ED-CD6C-436D-95DB-EEEE4649128C}" dt="2023-08-31T13:48:04.210" v="4" actId="478"/>
          <ac:spMkLst>
            <pc:docMk/>
            <pc:sldMk cId="2985194141" sldId="2147480455"/>
            <ac:spMk id="16" creationId="{02125598-4737-089B-F5E7-9376F8BA65FE}"/>
          </ac:spMkLst>
        </pc:spChg>
        <pc:spChg chg="mod">
          <ac:chgData name="Jiwani, Sahil (CDC/DDPHSS/OD) (CTR)" userId="36979ee3-d108-44a0-9f87-1b615dc81683" providerId="ADAL" clId="{9341A7ED-CD6C-436D-95DB-EEEE4649128C}" dt="2023-08-31T15:17:03.399" v="88" actId="1076"/>
          <ac:spMkLst>
            <pc:docMk/>
            <pc:sldMk cId="2985194141" sldId="2147480455"/>
            <ac:spMk id="17" creationId="{563DA0AA-6DC4-BD7F-0150-B8887657CDE1}"/>
          </ac:spMkLst>
        </pc:spChg>
        <pc:spChg chg="del">
          <ac:chgData name="Jiwani, Sahil (CDC/DDPHSS/OD) (CTR)" userId="36979ee3-d108-44a0-9f87-1b615dc81683" providerId="ADAL" clId="{9341A7ED-CD6C-436D-95DB-EEEE4649128C}" dt="2023-08-31T13:48:08.928" v="6" actId="478"/>
          <ac:spMkLst>
            <pc:docMk/>
            <pc:sldMk cId="2985194141" sldId="2147480455"/>
            <ac:spMk id="18" creationId="{173D1654-EC9F-4D54-3EB0-DC9E8C6D96CB}"/>
          </ac:spMkLst>
        </pc:spChg>
        <pc:spChg chg="del">
          <ac:chgData name="Jiwani, Sahil (CDC/DDPHSS/OD) (CTR)" userId="36979ee3-d108-44a0-9f87-1b615dc81683" providerId="ADAL" clId="{9341A7ED-CD6C-436D-95DB-EEEE4649128C}" dt="2023-08-31T13:48:02.204" v="2" actId="478"/>
          <ac:spMkLst>
            <pc:docMk/>
            <pc:sldMk cId="2985194141" sldId="2147480455"/>
            <ac:spMk id="19" creationId="{757C56C8-46A4-68F9-FAA0-4A6C232A6C47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20" creationId="{69B7EF4C-763E-799A-3730-962B19392469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21" creationId="{99B0CCFD-D2B0-F319-A3B4-C2D4C8A03953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22" creationId="{C9FA1190-68C5-9DED-A15C-73B7B030BD65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23" creationId="{5964374B-302E-D9A7-6A2E-A9D102894F7E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24" creationId="{A31C1009-8A3E-F2CE-8EA1-6DC1566A2D73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25" creationId="{9E021ED9-F764-61B5-7727-FA9F8D5A492E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26" creationId="{0B76386C-DDC3-415D-FBE7-59044A151728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27" creationId="{015125EC-F1B5-F1AB-EDA0-EBCE9045FE7D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28" creationId="{A3887228-C1F6-9B59-CB7D-3F1232047601}"/>
          </ac:spMkLst>
        </pc:spChg>
        <pc:spChg chg="add del mod">
          <ac:chgData name="Jiwani, Sahil (CDC/DDPHSS/OD) (CTR)" userId="36979ee3-d108-44a0-9f87-1b615dc81683" providerId="ADAL" clId="{9341A7ED-CD6C-436D-95DB-EEEE4649128C}" dt="2023-08-31T15:08:04.309" v="18"/>
          <ac:spMkLst>
            <pc:docMk/>
            <pc:sldMk cId="2985194141" sldId="2147480455"/>
            <ac:spMk id="29" creationId="{E414A4A0-00B9-EC8A-C6E6-84F881163F46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30" creationId="{6EB36CB5-4F10-457F-4152-24D334DB3CDB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31" creationId="{4CA86E3C-EFF2-CC41-3716-5626DFD96742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32" creationId="{276A19D5-8946-ED59-21F4-BDDACC2AF89D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33" creationId="{A163E944-3C1B-9D5D-EE0C-344315EDF7BE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34" creationId="{CDEDB54D-5654-58B2-680A-70C7E7F9CFAD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35" creationId="{E62DE98A-B077-4238-46E8-07DB86A67EED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36" creationId="{38D8871D-C306-0EBD-1919-0D7D06D47ED4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37" creationId="{315B7EDC-C4A6-98C3-40A2-757A751BA20E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38" creationId="{A63CAF13-C4C4-847B-3841-8C720D84866C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39" creationId="{7F0DEB3C-E7A2-8E6B-1E77-07FE48BA038B}"/>
          </ac:spMkLst>
        </pc:spChg>
        <pc:spChg chg="add del mod">
          <ac:chgData name="Jiwani, Sahil (CDC/DDPHSS/OD) (CTR)" userId="36979ee3-d108-44a0-9f87-1b615dc81683" providerId="ADAL" clId="{9341A7ED-CD6C-436D-95DB-EEEE4649128C}" dt="2023-08-31T15:22:38.579" v="91" actId="478"/>
          <ac:spMkLst>
            <pc:docMk/>
            <pc:sldMk cId="2985194141" sldId="2147480455"/>
            <ac:spMk id="40" creationId="{1395678C-5403-7C2F-8039-F4E94C3A6733}"/>
          </ac:spMkLst>
        </pc:spChg>
        <pc:graphicFrameChg chg="add del">
          <ac:chgData name="Jiwani, Sahil (CDC/DDPHSS/OD) (CTR)" userId="36979ee3-d108-44a0-9f87-1b615dc81683" providerId="ADAL" clId="{9341A7ED-CD6C-436D-95DB-EEEE4649128C}" dt="2023-08-31T13:50:21.075" v="10" actId="478"/>
          <ac:graphicFrameMkLst>
            <pc:docMk/>
            <pc:sldMk cId="2985194141" sldId="2147480455"/>
            <ac:graphicFrameMk id="7" creationId="{15117524-9EAC-1D4A-FDA6-511B62B84B21}"/>
          </ac:graphicFrameMkLst>
        </pc:graphicFrameChg>
        <pc:graphicFrameChg chg="add del modGraphic">
          <ac:chgData name="Jiwani, Sahil (CDC/DDPHSS/OD) (CTR)" userId="36979ee3-d108-44a0-9f87-1b615dc81683" providerId="ADAL" clId="{9341A7ED-CD6C-436D-95DB-EEEE4649128C}" dt="2023-08-31T13:52:00.465" v="12" actId="478"/>
          <ac:graphicFrameMkLst>
            <pc:docMk/>
            <pc:sldMk cId="2985194141" sldId="2147480455"/>
            <ac:graphicFrameMk id="8" creationId="{E346198E-9E37-7954-6142-532F0ACD1C72}"/>
          </ac:graphicFrameMkLst>
        </pc:graphicFrameChg>
        <pc:graphicFrameChg chg="mod">
          <ac:chgData name="Jiwani, Sahil (CDC/DDPHSS/OD) (CTR)" userId="36979ee3-d108-44a0-9f87-1b615dc81683" providerId="ADAL" clId="{9341A7ED-CD6C-436D-95DB-EEEE4649128C}" dt="2023-08-31T15:17:03.399" v="88" actId="1076"/>
          <ac:graphicFrameMkLst>
            <pc:docMk/>
            <pc:sldMk cId="2985194141" sldId="2147480455"/>
            <ac:graphicFrameMk id="14" creationId="{60DFC0D1-9356-FCF7-DFF6-75EAEDD413D9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BA0263-2EAE-40ED-BCC2-A2B578945B6E}" type="doc">
      <dgm:prSet loTypeId="urn:microsoft.com/office/officeart/2005/8/layout/default" loCatId="list" qsTypeId="urn:microsoft.com/office/officeart/2005/8/quickstyle/simple1" qsCatId="simple" csTypeId="urn:microsoft.com/office/officeart/2005/8/colors/accent5_3" csCatId="accent5" phldr="1"/>
      <dgm:spPr/>
      <dgm:t>
        <a:bodyPr/>
        <a:lstStyle/>
        <a:p>
          <a:endParaRPr lang="en-US"/>
        </a:p>
      </dgm:t>
    </dgm:pt>
    <dgm:pt modelId="{0BBF8EF3-61C7-40DA-B886-7B0BED42D4B6}">
      <dgm:prSet custT="1"/>
      <dgm:spPr>
        <a:ln>
          <a:solidFill>
            <a:schemeClr val="tx1"/>
          </a:solidFill>
        </a:ln>
      </dgm:spPr>
      <dgm:t>
        <a:bodyPr/>
        <a:lstStyle/>
        <a:p>
          <a:r>
            <a:rPr lang="en-US" sz="1800" b="1" i="0" baseline="0"/>
            <a:t>1. Readiness and Execution for Fall and Winter Respiratory Illnesses</a:t>
          </a:r>
          <a:endParaRPr lang="en-US" sz="1800" b="1"/>
        </a:p>
      </dgm:t>
    </dgm:pt>
    <dgm:pt modelId="{947C7C62-541F-4EB4-B044-011567BB6194}" type="parTrans" cxnId="{3F0B923A-7DC4-46EE-AA6B-49FAD60B976B}">
      <dgm:prSet/>
      <dgm:spPr/>
      <dgm:t>
        <a:bodyPr/>
        <a:lstStyle/>
        <a:p>
          <a:endParaRPr lang="en-US"/>
        </a:p>
      </dgm:t>
    </dgm:pt>
    <dgm:pt modelId="{79499EAC-D36C-4155-BD5A-3B0DC89668B6}" type="sibTrans" cxnId="{3F0B923A-7DC4-46EE-AA6B-49FAD60B976B}">
      <dgm:prSet/>
      <dgm:spPr/>
      <dgm:t>
        <a:bodyPr/>
        <a:lstStyle/>
        <a:p>
          <a:endParaRPr lang="en-US"/>
        </a:p>
      </dgm:t>
    </dgm:pt>
    <dgm:pt modelId="{C83F0D46-5FF8-4B26-9A83-84C1653F7DF3}">
      <dgm:prSet custT="1"/>
      <dgm:spPr>
        <a:ln>
          <a:solidFill>
            <a:schemeClr val="tx1"/>
          </a:solidFill>
        </a:ln>
      </dgm:spPr>
      <dgm:t>
        <a:bodyPr/>
        <a:lstStyle/>
        <a:p>
          <a:r>
            <a:rPr lang="en-US" sz="1800" b="1"/>
            <a:t>2. Improving Mental Health &amp; Combatting Opioid Crises</a:t>
          </a:r>
        </a:p>
      </dgm:t>
    </dgm:pt>
    <dgm:pt modelId="{0AA0F7B2-87E4-4A2F-BB44-02F750693796}" type="parTrans" cxnId="{7EAAF282-98F5-4148-83F3-D7EC1982DAC1}">
      <dgm:prSet/>
      <dgm:spPr/>
      <dgm:t>
        <a:bodyPr/>
        <a:lstStyle/>
        <a:p>
          <a:endParaRPr lang="en-US"/>
        </a:p>
      </dgm:t>
    </dgm:pt>
    <dgm:pt modelId="{7E6021A4-59EE-438F-B282-A38B526FE036}" type="sibTrans" cxnId="{7EAAF282-98F5-4148-83F3-D7EC1982DAC1}">
      <dgm:prSet/>
      <dgm:spPr/>
      <dgm:t>
        <a:bodyPr/>
        <a:lstStyle/>
        <a:p>
          <a:endParaRPr lang="en-US"/>
        </a:p>
      </dgm:t>
    </dgm:pt>
    <dgm:pt modelId="{B2630245-B272-4464-B99E-1FB89C6E4498}">
      <dgm:prSet custT="1"/>
      <dgm:spPr>
        <a:solidFill>
          <a:srgbClr val="7D8CD5"/>
        </a:solidFill>
        <a:ln>
          <a:solidFill>
            <a:schemeClr val="tx1"/>
          </a:solidFill>
        </a:ln>
      </dgm:spPr>
      <dgm:t>
        <a:bodyPr/>
        <a:lstStyle/>
        <a:p>
          <a:r>
            <a:rPr lang="en-US" sz="1800" b="1" i="0" baseline="0"/>
            <a:t>3. Supporting                   Young Families</a:t>
          </a:r>
          <a:endParaRPr lang="en-US" sz="1800" b="1"/>
        </a:p>
      </dgm:t>
    </dgm:pt>
    <dgm:pt modelId="{FC3E65E9-7636-44B6-9A14-B0B97E5BC067}" type="parTrans" cxnId="{C98BA50C-5250-4076-8568-EA562B693969}">
      <dgm:prSet/>
      <dgm:spPr/>
      <dgm:t>
        <a:bodyPr/>
        <a:lstStyle/>
        <a:p>
          <a:endParaRPr lang="en-US"/>
        </a:p>
      </dgm:t>
    </dgm:pt>
    <dgm:pt modelId="{97D6EE7B-BEB6-437A-9C02-AF64641E03A8}" type="sibTrans" cxnId="{C98BA50C-5250-4076-8568-EA562B693969}">
      <dgm:prSet/>
      <dgm:spPr/>
      <dgm:t>
        <a:bodyPr/>
        <a:lstStyle/>
        <a:p>
          <a:endParaRPr lang="en-US"/>
        </a:p>
      </dgm:t>
    </dgm:pt>
    <dgm:pt modelId="{4E59A59C-1560-4A8F-A4E3-E2D19BD87BE1}" type="pres">
      <dgm:prSet presAssocID="{5EBA0263-2EAE-40ED-BCC2-A2B578945B6E}" presName="diagram" presStyleCnt="0">
        <dgm:presLayoutVars>
          <dgm:dir/>
          <dgm:resizeHandles val="exact"/>
        </dgm:presLayoutVars>
      </dgm:prSet>
      <dgm:spPr/>
    </dgm:pt>
    <dgm:pt modelId="{2018F7A6-57F7-4CF2-9DEB-BB284237A663}" type="pres">
      <dgm:prSet presAssocID="{0BBF8EF3-61C7-40DA-B886-7B0BED42D4B6}" presName="node" presStyleLbl="node1" presStyleIdx="0" presStyleCnt="3">
        <dgm:presLayoutVars>
          <dgm:bulletEnabled val="1"/>
        </dgm:presLayoutVars>
      </dgm:prSet>
      <dgm:spPr/>
    </dgm:pt>
    <dgm:pt modelId="{E7F4E8FE-C3EA-453F-9C53-B661109A149F}" type="pres">
      <dgm:prSet presAssocID="{79499EAC-D36C-4155-BD5A-3B0DC89668B6}" presName="sibTrans" presStyleCnt="0"/>
      <dgm:spPr/>
    </dgm:pt>
    <dgm:pt modelId="{AE6E7C75-EAF9-4C33-AF43-93729838C67D}" type="pres">
      <dgm:prSet presAssocID="{C83F0D46-5FF8-4B26-9A83-84C1653F7DF3}" presName="node" presStyleLbl="node1" presStyleIdx="1" presStyleCnt="3">
        <dgm:presLayoutVars>
          <dgm:bulletEnabled val="1"/>
        </dgm:presLayoutVars>
      </dgm:prSet>
      <dgm:spPr/>
    </dgm:pt>
    <dgm:pt modelId="{81E86F02-931A-4D05-8A79-7DBB4F3A1CDC}" type="pres">
      <dgm:prSet presAssocID="{7E6021A4-59EE-438F-B282-A38B526FE036}" presName="sibTrans" presStyleCnt="0"/>
      <dgm:spPr/>
    </dgm:pt>
    <dgm:pt modelId="{50898015-EB70-4D71-8020-AE3130EBD8D4}" type="pres">
      <dgm:prSet presAssocID="{B2630245-B272-4464-B99E-1FB89C6E4498}" presName="node" presStyleLbl="node1" presStyleIdx="2" presStyleCnt="3">
        <dgm:presLayoutVars>
          <dgm:bulletEnabled val="1"/>
        </dgm:presLayoutVars>
      </dgm:prSet>
      <dgm:spPr/>
    </dgm:pt>
  </dgm:ptLst>
  <dgm:cxnLst>
    <dgm:cxn modelId="{C98BA50C-5250-4076-8568-EA562B693969}" srcId="{5EBA0263-2EAE-40ED-BCC2-A2B578945B6E}" destId="{B2630245-B272-4464-B99E-1FB89C6E4498}" srcOrd="2" destOrd="0" parTransId="{FC3E65E9-7636-44B6-9A14-B0B97E5BC067}" sibTransId="{97D6EE7B-BEB6-437A-9C02-AF64641E03A8}"/>
    <dgm:cxn modelId="{3F0B923A-7DC4-46EE-AA6B-49FAD60B976B}" srcId="{5EBA0263-2EAE-40ED-BCC2-A2B578945B6E}" destId="{0BBF8EF3-61C7-40DA-B886-7B0BED42D4B6}" srcOrd="0" destOrd="0" parTransId="{947C7C62-541F-4EB4-B044-011567BB6194}" sibTransId="{79499EAC-D36C-4155-BD5A-3B0DC89668B6}"/>
    <dgm:cxn modelId="{7EAAF282-98F5-4148-83F3-D7EC1982DAC1}" srcId="{5EBA0263-2EAE-40ED-BCC2-A2B578945B6E}" destId="{C83F0D46-5FF8-4B26-9A83-84C1653F7DF3}" srcOrd="1" destOrd="0" parTransId="{0AA0F7B2-87E4-4A2F-BB44-02F750693796}" sibTransId="{7E6021A4-59EE-438F-B282-A38B526FE036}"/>
    <dgm:cxn modelId="{8F58CB90-1FAD-4AB1-965E-6AD4D73CC64F}" type="presOf" srcId="{5EBA0263-2EAE-40ED-BCC2-A2B578945B6E}" destId="{4E59A59C-1560-4A8F-A4E3-E2D19BD87BE1}" srcOrd="0" destOrd="0" presId="urn:microsoft.com/office/officeart/2005/8/layout/default"/>
    <dgm:cxn modelId="{7A2135C1-C817-40F9-B0E1-6C04805269F0}" type="presOf" srcId="{0BBF8EF3-61C7-40DA-B886-7B0BED42D4B6}" destId="{2018F7A6-57F7-4CF2-9DEB-BB284237A663}" srcOrd="0" destOrd="0" presId="urn:microsoft.com/office/officeart/2005/8/layout/default"/>
    <dgm:cxn modelId="{4C60FDCC-3988-4033-BB09-21DA42382E86}" type="presOf" srcId="{B2630245-B272-4464-B99E-1FB89C6E4498}" destId="{50898015-EB70-4D71-8020-AE3130EBD8D4}" srcOrd="0" destOrd="0" presId="urn:microsoft.com/office/officeart/2005/8/layout/default"/>
    <dgm:cxn modelId="{018D88FE-38D1-486C-A08E-7A3B62E18E71}" type="presOf" srcId="{C83F0D46-5FF8-4B26-9A83-84C1653F7DF3}" destId="{AE6E7C75-EAF9-4C33-AF43-93729838C67D}" srcOrd="0" destOrd="0" presId="urn:microsoft.com/office/officeart/2005/8/layout/default"/>
    <dgm:cxn modelId="{BFBE7DC1-829E-4AA7-8230-8C05A1EAB6C0}" type="presParOf" srcId="{4E59A59C-1560-4A8F-A4E3-E2D19BD87BE1}" destId="{2018F7A6-57F7-4CF2-9DEB-BB284237A663}" srcOrd="0" destOrd="0" presId="urn:microsoft.com/office/officeart/2005/8/layout/default"/>
    <dgm:cxn modelId="{8BC2B57D-0B68-459D-8AC7-E2A3D2447B96}" type="presParOf" srcId="{4E59A59C-1560-4A8F-A4E3-E2D19BD87BE1}" destId="{E7F4E8FE-C3EA-453F-9C53-B661109A149F}" srcOrd="1" destOrd="0" presId="urn:microsoft.com/office/officeart/2005/8/layout/default"/>
    <dgm:cxn modelId="{BE4CF7BB-652C-44AE-B288-D96A2DA28421}" type="presParOf" srcId="{4E59A59C-1560-4A8F-A4E3-E2D19BD87BE1}" destId="{AE6E7C75-EAF9-4C33-AF43-93729838C67D}" srcOrd="2" destOrd="0" presId="urn:microsoft.com/office/officeart/2005/8/layout/default"/>
    <dgm:cxn modelId="{8C0D138E-58A3-4415-9FCF-DBCDEC7FC7F9}" type="presParOf" srcId="{4E59A59C-1560-4A8F-A4E3-E2D19BD87BE1}" destId="{81E86F02-931A-4D05-8A79-7DBB4F3A1CDC}" srcOrd="3" destOrd="0" presId="urn:microsoft.com/office/officeart/2005/8/layout/default"/>
    <dgm:cxn modelId="{B6DAD512-8AF8-4981-BB15-9812A345DF69}" type="presParOf" srcId="{4E59A59C-1560-4A8F-A4E3-E2D19BD87BE1}" destId="{50898015-EB70-4D71-8020-AE3130EBD8D4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18F7A6-57F7-4CF2-9DEB-BB284237A663}">
      <dsp:nvSpPr>
        <dsp:cNvPr id="0" name=""/>
        <dsp:cNvSpPr/>
      </dsp:nvSpPr>
      <dsp:spPr>
        <a:xfrm>
          <a:off x="0" y="372588"/>
          <a:ext cx="3132782" cy="1879669"/>
        </a:xfrm>
        <a:prstGeom prst="rect">
          <a:avLst/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i="0" kern="1200" baseline="0"/>
            <a:t>1. Readiness and Execution for Fall and Winter Respiratory Illnesses</a:t>
          </a:r>
          <a:endParaRPr lang="en-US" sz="1800" b="1" kern="1200"/>
        </a:p>
      </dsp:txBody>
      <dsp:txXfrm>
        <a:off x="0" y="372588"/>
        <a:ext cx="3132782" cy="1879669"/>
      </dsp:txXfrm>
    </dsp:sp>
    <dsp:sp modelId="{AE6E7C75-EAF9-4C33-AF43-93729838C67D}">
      <dsp:nvSpPr>
        <dsp:cNvPr id="0" name=""/>
        <dsp:cNvSpPr/>
      </dsp:nvSpPr>
      <dsp:spPr>
        <a:xfrm>
          <a:off x="3446061" y="372588"/>
          <a:ext cx="3132782" cy="1879669"/>
        </a:xfrm>
        <a:prstGeom prst="rect">
          <a:avLst/>
        </a:prstGeom>
        <a:solidFill>
          <a:schemeClr val="accent5">
            <a:shade val="80000"/>
            <a:hueOff val="265088"/>
            <a:satOff val="-11912"/>
            <a:lumOff val="15719"/>
            <a:alphaOff val="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/>
            <a:t>2. Improving Mental Health &amp; Combatting Opioid Crises</a:t>
          </a:r>
        </a:p>
      </dsp:txBody>
      <dsp:txXfrm>
        <a:off x="3446061" y="372588"/>
        <a:ext cx="3132782" cy="1879669"/>
      </dsp:txXfrm>
    </dsp:sp>
    <dsp:sp modelId="{50898015-EB70-4D71-8020-AE3130EBD8D4}">
      <dsp:nvSpPr>
        <dsp:cNvPr id="0" name=""/>
        <dsp:cNvSpPr/>
      </dsp:nvSpPr>
      <dsp:spPr>
        <a:xfrm>
          <a:off x="6892122" y="372588"/>
          <a:ext cx="3132782" cy="1879669"/>
        </a:xfrm>
        <a:prstGeom prst="rect">
          <a:avLst/>
        </a:prstGeom>
        <a:solidFill>
          <a:srgbClr val="7D8CD5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i="0" kern="1200" baseline="0"/>
            <a:t>3. Supporting                   Young Families</a:t>
          </a:r>
          <a:endParaRPr lang="en-US" sz="1800" b="1" kern="1200"/>
        </a:p>
      </dsp:txBody>
      <dsp:txXfrm>
        <a:off x="6892122" y="372588"/>
        <a:ext cx="3132782" cy="18796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CCA32D-B92C-4A57-B276-84BD6E9DE7AC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F96F4F-9913-4A1C-A4E1-6FC149EB33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298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E6FFA-1C84-4E35-8A54-BF5F073F70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0036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888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 August 202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9247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9734" y="4444685"/>
            <a:ext cx="5515370" cy="169277"/>
          </a:xfrm>
        </p:spPr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 August 202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2441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8596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2298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352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1.emf"/><Relationship Id="rId5" Type="http://schemas.openxmlformats.org/officeDocument/2006/relationships/tags" Target="../tags/tag10.xml"/><Relationship Id="rId10" Type="http://schemas.openxmlformats.org/officeDocument/2006/relationships/oleObject" Target="../embeddings/oleObject2.bin"/><Relationship Id="rId4" Type="http://schemas.openxmlformats.org/officeDocument/2006/relationships/tags" Target="../tags/tag9.xml"/><Relationship Id="rId9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11" Type="http://schemas.openxmlformats.org/officeDocument/2006/relationships/image" Target="../media/image10.png"/><Relationship Id="rId5" Type="http://schemas.openxmlformats.org/officeDocument/2006/relationships/tags" Target="../tags/tag37.xml"/><Relationship Id="rId10" Type="http://schemas.openxmlformats.org/officeDocument/2006/relationships/image" Target="../media/image8.emf"/><Relationship Id="rId4" Type="http://schemas.openxmlformats.org/officeDocument/2006/relationships/tags" Target="../tags/tag36.xml"/><Relationship Id="rId9" Type="http://schemas.openxmlformats.org/officeDocument/2006/relationships/oleObject" Target="../embeddings/oleObject4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11" Type="http://schemas.openxmlformats.org/officeDocument/2006/relationships/image" Target="../media/image1.emf"/><Relationship Id="rId5" Type="http://schemas.openxmlformats.org/officeDocument/2006/relationships/tags" Target="../tags/tag42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6.vml"/><Relationship Id="rId6" Type="http://schemas.openxmlformats.org/officeDocument/2006/relationships/tags" Target="../tags/tag50.xml"/><Relationship Id="rId11" Type="http://schemas.openxmlformats.org/officeDocument/2006/relationships/image" Target="../media/image1.emf"/><Relationship Id="rId5" Type="http://schemas.openxmlformats.org/officeDocument/2006/relationships/tags" Target="../tags/tag49.xml"/><Relationship Id="rId10" Type="http://schemas.openxmlformats.org/officeDocument/2006/relationships/oleObject" Target="../embeddings/oleObject6.bin"/><Relationship Id="rId4" Type="http://schemas.openxmlformats.org/officeDocument/2006/relationships/tags" Target="../tags/tag48.xml"/><Relationship Id="rId9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7.v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8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8.v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8.emf"/><Relationship Id="rId4" Type="http://schemas.openxmlformats.org/officeDocument/2006/relationships/tags" Target="../tags/tag61.xml"/><Relationship Id="rId9" Type="http://schemas.openxmlformats.org/officeDocument/2006/relationships/oleObject" Target="../embeddings/oleObject8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vmlDrawing" Target="../drawings/vmlDrawing9.vml"/><Relationship Id="rId6" Type="http://schemas.openxmlformats.org/officeDocument/2006/relationships/tags" Target="../tags/tag69.xml"/><Relationship Id="rId11" Type="http://schemas.openxmlformats.org/officeDocument/2006/relationships/image" Target="../media/image11.jpeg"/><Relationship Id="rId5" Type="http://schemas.openxmlformats.org/officeDocument/2006/relationships/tags" Target="../tags/tag68.xml"/><Relationship Id="rId10" Type="http://schemas.openxmlformats.org/officeDocument/2006/relationships/image" Target="../media/image8.emf"/><Relationship Id="rId4" Type="http://schemas.openxmlformats.org/officeDocument/2006/relationships/tags" Target="../tags/tag67.xml"/><Relationship Id="rId9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5.xml"/><Relationship Id="rId11" Type="http://schemas.openxmlformats.org/officeDocument/2006/relationships/image" Target="../media/image12.jpeg"/><Relationship Id="rId5" Type="http://schemas.openxmlformats.org/officeDocument/2006/relationships/tags" Target="../tags/tag74.xml"/><Relationship Id="rId10" Type="http://schemas.openxmlformats.org/officeDocument/2006/relationships/image" Target="../media/image8.emf"/><Relationship Id="rId4" Type="http://schemas.openxmlformats.org/officeDocument/2006/relationships/tags" Target="../tags/tag73.xml"/><Relationship Id="rId9" Type="http://schemas.openxmlformats.org/officeDocument/2006/relationships/oleObject" Target="../embeddings/oleObject10.bin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1.xml"/><Relationship Id="rId11" Type="http://schemas.openxmlformats.org/officeDocument/2006/relationships/image" Target="../media/image13.jpeg"/><Relationship Id="rId5" Type="http://schemas.openxmlformats.org/officeDocument/2006/relationships/tags" Target="../tags/tag80.xml"/><Relationship Id="rId10" Type="http://schemas.openxmlformats.org/officeDocument/2006/relationships/image" Target="../media/image8.emf"/><Relationship Id="rId4" Type="http://schemas.openxmlformats.org/officeDocument/2006/relationships/tags" Target="../tags/tag79.xml"/><Relationship Id="rId9" Type="http://schemas.openxmlformats.org/officeDocument/2006/relationships/oleObject" Target="../embeddings/oleObject11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7.xml"/><Relationship Id="rId11" Type="http://schemas.openxmlformats.org/officeDocument/2006/relationships/image" Target="../media/image8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5.xml"/><Relationship Id="rId9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1.emf"/><Relationship Id="rId2" Type="http://schemas.openxmlformats.org/officeDocument/2006/relationships/tags" Target="../tags/tag9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10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00.xml"/><Relationship Id="rId9" Type="http://schemas.openxmlformats.org/officeDocument/2006/relationships/tags" Target="../tags/tag105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image" Target="../media/image1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0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0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08.xml"/><Relationship Id="rId9" Type="http://schemas.openxmlformats.org/officeDocument/2006/relationships/tags" Target="../tags/tag113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image" Target="../media/image14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8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1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image" Target="../media/image1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6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2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24.xml"/><Relationship Id="rId9" Type="http://schemas.openxmlformats.org/officeDocument/2006/relationships/tags" Target="../tags/tag129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34.xml"/><Relationship Id="rId11" Type="http://schemas.openxmlformats.org/officeDocument/2006/relationships/image" Target="../media/image7.jpeg"/><Relationship Id="rId5" Type="http://schemas.openxmlformats.org/officeDocument/2006/relationships/tags" Target="../tags/tag133.xml"/><Relationship Id="rId10" Type="http://schemas.openxmlformats.org/officeDocument/2006/relationships/image" Target="../media/image8.emf"/><Relationship Id="rId4" Type="http://schemas.openxmlformats.org/officeDocument/2006/relationships/tags" Target="../tags/tag132.xml"/><Relationship Id="rId9" Type="http://schemas.openxmlformats.org/officeDocument/2006/relationships/oleObject" Target="../embeddings/oleObject18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7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36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9.xml"/><Relationship Id="rId4" Type="http://schemas.openxmlformats.org/officeDocument/2006/relationships/tags" Target="../tags/tag13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41.xml"/><Relationship Id="rId7" Type="http://schemas.openxmlformats.org/officeDocument/2006/relationships/image" Target="../media/image15.jpeg"/><Relationship Id="rId2" Type="http://schemas.openxmlformats.org/officeDocument/2006/relationships/tags" Target="../tags/tag1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7.pn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tags" Target="../tags/tag143.xml"/><Relationship Id="rId7" Type="http://schemas.openxmlformats.org/officeDocument/2006/relationships/image" Target="../media/image8.emf"/><Relationship Id="rId12" Type="http://schemas.openxmlformats.org/officeDocument/2006/relationships/image" Target="../media/image22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21.svg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20.png"/><Relationship Id="rId4" Type="http://schemas.openxmlformats.org/officeDocument/2006/relationships/tags" Target="../tags/tag144.xml"/><Relationship Id="rId9" Type="http://schemas.openxmlformats.org/officeDocument/2006/relationships/image" Target="../media/image19.svg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tags" Target="../tags/tag146.xml"/><Relationship Id="rId7" Type="http://schemas.openxmlformats.org/officeDocument/2006/relationships/image" Target="../media/image8.emf"/><Relationship Id="rId12" Type="http://schemas.openxmlformats.org/officeDocument/2006/relationships/image" Target="../media/image22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21.svg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20.png"/><Relationship Id="rId4" Type="http://schemas.openxmlformats.org/officeDocument/2006/relationships/tags" Target="../tags/tag147.xml"/><Relationship Id="rId9" Type="http://schemas.openxmlformats.org/officeDocument/2006/relationships/image" Target="../media/image19.sv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216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97181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538566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67078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2780145" y="1308598"/>
            <a:ext cx="9408674" cy="5557422"/>
            <a:chOff x="914400" y="1331650"/>
            <a:chExt cx="8211846" cy="5557422"/>
          </a:xfrm>
        </p:grpSpPr>
        <p:sp>
          <p:nvSpPr>
            <p:cNvPr id="19" name="Freeform 18"/>
            <p:cNvSpPr/>
            <p:nvPr userDrawn="1"/>
          </p:nvSpPr>
          <p:spPr>
            <a:xfrm>
              <a:off x="3808522" y="1331650"/>
              <a:ext cx="5317724" cy="4092606"/>
            </a:xfrm>
            <a:custGeom>
              <a:avLst/>
              <a:gdLst>
                <a:gd name="connsiteX0" fmla="*/ 7918882 w 7918882"/>
                <a:gd name="connsiteY0" fmla="*/ 0 h 3355759"/>
                <a:gd name="connsiteX1" fmla="*/ 7918882 w 7918882"/>
                <a:gd name="connsiteY1" fmla="*/ 3355759 h 3355759"/>
                <a:gd name="connsiteX2" fmla="*/ 0 w 7918882"/>
                <a:gd name="connsiteY2" fmla="*/ 3355759 h 3355759"/>
                <a:gd name="connsiteX3" fmla="*/ 7918882 w 7918882"/>
                <a:gd name="connsiteY3" fmla="*/ 0 h 3355759"/>
                <a:gd name="connsiteX0" fmla="*/ 7918882 w 7918882"/>
                <a:gd name="connsiteY0" fmla="*/ 0 h 3355759"/>
                <a:gd name="connsiteX1" fmla="*/ 7918882 w 7918882"/>
                <a:gd name="connsiteY1" fmla="*/ 3355759 h 3355759"/>
                <a:gd name="connsiteX2" fmla="*/ 0 w 7918882"/>
                <a:gd name="connsiteY2" fmla="*/ 3355759 h 3355759"/>
                <a:gd name="connsiteX3" fmla="*/ 3458625 w 7918882"/>
                <a:gd name="connsiteY3" fmla="*/ 1864310 h 3355759"/>
                <a:gd name="connsiteX4" fmla="*/ 7918882 w 7918882"/>
                <a:gd name="connsiteY4" fmla="*/ 0 h 3355759"/>
                <a:gd name="connsiteX0" fmla="*/ 5128011 w 5128011"/>
                <a:gd name="connsiteY0" fmla="*/ 2201663 h 5557422"/>
                <a:gd name="connsiteX1" fmla="*/ 5128011 w 5128011"/>
                <a:gd name="connsiteY1" fmla="*/ 5557422 h 5557422"/>
                <a:gd name="connsiteX2" fmla="*/ 0 w 5128011"/>
                <a:gd name="connsiteY2" fmla="*/ 0 h 5557422"/>
                <a:gd name="connsiteX3" fmla="*/ 667754 w 5128011"/>
                <a:gd name="connsiteY3" fmla="*/ 4065973 h 5557422"/>
                <a:gd name="connsiteX4" fmla="*/ 5128011 w 5128011"/>
                <a:gd name="connsiteY4" fmla="*/ 2201663 h 5557422"/>
                <a:gd name="connsiteX0" fmla="*/ 5128011 w 5128011"/>
                <a:gd name="connsiteY0" fmla="*/ 2201663 h 4065973"/>
                <a:gd name="connsiteX1" fmla="*/ 0 w 5128011"/>
                <a:gd name="connsiteY1" fmla="*/ 0 h 4065973"/>
                <a:gd name="connsiteX2" fmla="*/ 667754 w 5128011"/>
                <a:gd name="connsiteY2" fmla="*/ 4065973 h 4065973"/>
                <a:gd name="connsiteX3" fmla="*/ 5128011 w 5128011"/>
                <a:gd name="connsiteY3" fmla="*/ 2201663 h 4065973"/>
                <a:gd name="connsiteX0" fmla="*/ 5128011 w 5128011"/>
                <a:gd name="connsiteY0" fmla="*/ 2201663 h 4092606"/>
                <a:gd name="connsiteX1" fmla="*/ 0 w 5128011"/>
                <a:gd name="connsiteY1" fmla="*/ 0 h 4092606"/>
                <a:gd name="connsiteX2" fmla="*/ 667754 w 5128011"/>
                <a:gd name="connsiteY2" fmla="*/ 4092606 h 4092606"/>
                <a:gd name="connsiteX3" fmla="*/ 5128011 w 5128011"/>
                <a:gd name="connsiteY3" fmla="*/ 2201663 h 409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28011" h="4092606">
                  <a:moveTo>
                    <a:pt x="5128011" y="2201663"/>
                  </a:moveTo>
                  <a:lnTo>
                    <a:pt x="0" y="0"/>
                  </a:lnTo>
                  <a:lnTo>
                    <a:pt x="667754" y="4092606"/>
                  </a:lnTo>
                  <a:lnTo>
                    <a:pt x="5128011" y="220166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b="0" i="0" spc="30" baseline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  <p:sp>
          <p:nvSpPr>
            <p:cNvPr id="13" name="Freeform 12"/>
            <p:cNvSpPr/>
            <p:nvPr userDrawn="1"/>
          </p:nvSpPr>
          <p:spPr>
            <a:xfrm>
              <a:off x="914400" y="3533313"/>
              <a:ext cx="8211845" cy="3355759"/>
            </a:xfrm>
            <a:custGeom>
              <a:avLst/>
              <a:gdLst>
                <a:gd name="connsiteX0" fmla="*/ 7918882 w 7918882"/>
                <a:gd name="connsiteY0" fmla="*/ 0 h 3355759"/>
                <a:gd name="connsiteX1" fmla="*/ 7918882 w 7918882"/>
                <a:gd name="connsiteY1" fmla="*/ 3355759 h 3355759"/>
                <a:gd name="connsiteX2" fmla="*/ 0 w 7918882"/>
                <a:gd name="connsiteY2" fmla="*/ 3355759 h 3355759"/>
                <a:gd name="connsiteX3" fmla="*/ 7918882 w 7918882"/>
                <a:gd name="connsiteY3" fmla="*/ 0 h 335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8882" h="3355759">
                  <a:moveTo>
                    <a:pt x="7918882" y="0"/>
                  </a:moveTo>
                  <a:lnTo>
                    <a:pt x="7918882" y="3355759"/>
                  </a:lnTo>
                  <a:lnTo>
                    <a:pt x="0" y="3355759"/>
                  </a:lnTo>
                  <a:lnTo>
                    <a:pt x="791888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b="0" i="0" spc="30" baseline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</p:grp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19432" y="3522846"/>
            <a:ext cx="6337170" cy="56851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="0" i="0">
                <a:latin typeface="+mj-lt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80624" y="5862900"/>
            <a:ext cx="6279947" cy="309303"/>
          </a:xfrm>
        </p:spPr>
        <p:txBody>
          <a:bodyPr>
            <a:noAutofit/>
          </a:bodyPr>
          <a:lstStyle>
            <a:lvl1pPr>
              <a:defRPr sz="1600" b="0" i="0">
                <a:latin typeface="+mn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9" name="Picture 8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305218"/>
            <a:ext cx="1508760" cy="380582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619432" y="1943103"/>
            <a:ext cx="7865619" cy="1424905"/>
          </a:xfrm>
        </p:spPr>
        <p:txBody>
          <a:bodyPr anchor="b" anchorCtr="0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0097101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151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Option 1 with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/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6083289" y="1308598"/>
            <a:ext cx="6099651" cy="4089294"/>
          </a:xfrm>
          <a:custGeom>
            <a:avLst/>
            <a:gdLst>
              <a:gd name="connsiteX0" fmla="*/ 0 w 4224652"/>
              <a:gd name="connsiteY0" fmla="*/ 0 h 6896093"/>
              <a:gd name="connsiteX1" fmla="*/ 4224652 w 4224652"/>
              <a:gd name="connsiteY1" fmla="*/ 0 h 6896093"/>
              <a:gd name="connsiteX2" fmla="*/ 4224652 w 4224652"/>
              <a:gd name="connsiteY2" fmla="*/ 6896093 h 6896093"/>
              <a:gd name="connsiteX3" fmla="*/ 0 w 4224652"/>
              <a:gd name="connsiteY3" fmla="*/ 6896093 h 6896093"/>
              <a:gd name="connsiteX4" fmla="*/ 0 w 4224652"/>
              <a:gd name="connsiteY4" fmla="*/ 0 h 6896093"/>
              <a:gd name="connsiteX0" fmla="*/ 0 w 4224652"/>
              <a:gd name="connsiteY0" fmla="*/ 548640 h 6896093"/>
              <a:gd name="connsiteX1" fmla="*/ 4224652 w 4224652"/>
              <a:gd name="connsiteY1" fmla="*/ 0 h 6896093"/>
              <a:gd name="connsiteX2" fmla="*/ 4224652 w 4224652"/>
              <a:gd name="connsiteY2" fmla="*/ 6896093 h 6896093"/>
              <a:gd name="connsiteX3" fmla="*/ 0 w 4224652"/>
              <a:gd name="connsiteY3" fmla="*/ 6896093 h 6896093"/>
              <a:gd name="connsiteX4" fmla="*/ 0 w 4224652"/>
              <a:gd name="connsiteY4" fmla="*/ 548640 h 6896093"/>
              <a:gd name="connsiteX0" fmla="*/ 0 w 4224652"/>
              <a:gd name="connsiteY0" fmla="*/ 548640 h 6896093"/>
              <a:gd name="connsiteX1" fmla="*/ 4224652 w 4224652"/>
              <a:gd name="connsiteY1" fmla="*/ 0 h 6896093"/>
              <a:gd name="connsiteX2" fmla="*/ 4194172 w 4224652"/>
              <a:gd name="connsiteY2" fmla="*/ 6042653 h 6896093"/>
              <a:gd name="connsiteX3" fmla="*/ 0 w 4224652"/>
              <a:gd name="connsiteY3" fmla="*/ 6896093 h 6896093"/>
              <a:gd name="connsiteX4" fmla="*/ 0 w 4224652"/>
              <a:gd name="connsiteY4" fmla="*/ 548640 h 6896093"/>
              <a:gd name="connsiteX0" fmla="*/ 0 w 4224652"/>
              <a:gd name="connsiteY0" fmla="*/ 304800 h 6652253"/>
              <a:gd name="connsiteX1" fmla="*/ 4224652 w 4224652"/>
              <a:gd name="connsiteY1" fmla="*/ 0 h 6652253"/>
              <a:gd name="connsiteX2" fmla="*/ 4194172 w 4224652"/>
              <a:gd name="connsiteY2" fmla="*/ 5798813 h 6652253"/>
              <a:gd name="connsiteX3" fmla="*/ 0 w 4224652"/>
              <a:gd name="connsiteY3" fmla="*/ 6652253 h 6652253"/>
              <a:gd name="connsiteX4" fmla="*/ 0 w 4224652"/>
              <a:gd name="connsiteY4" fmla="*/ 304800 h 6652253"/>
              <a:gd name="connsiteX0" fmla="*/ 0 w 4224652"/>
              <a:gd name="connsiteY0" fmla="*/ 558800 h 6652253"/>
              <a:gd name="connsiteX1" fmla="*/ 4224652 w 4224652"/>
              <a:gd name="connsiteY1" fmla="*/ 0 h 6652253"/>
              <a:gd name="connsiteX2" fmla="*/ 4194172 w 4224652"/>
              <a:gd name="connsiteY2" fmla="*/ 5798813 h 6652253"/>
              <a:gd name="connsiteX3" fmla="*/ 0 w 4224652"/>
              <a:gd name="connsiteY3" fmla="*/ 6652253 h 6652253"/>
              <a:gd name="connsiteX4" fmla="*/ 0 w 4224652"/>
              <a:gd name="connsiteY4" fmla="*/ 558800 h 6652253"/>
              <a:gd name="connsiteX0" fmla="*/ 0 w 4224652"/>
              <a:gd name="connsiteY0" fmla="*/ 904240 h 6652253"/>
              <a:gd name="connsiteX1" fmla="*/ 4224652 w 4224652"/>
              <a:gd name="connsiteY1" fmla="*/ 0 h 6652253"/>
              <a:gd name="connsiteX2" fmla="*/ 4194172 w 4224652"/>
              <a:gd name="connsiteY2" fmla="*/ 5798813 h 6652253"/>
              <a:gd name="connsiteX3" fmla="*/ 0 w 4224652"/>
              <a:gd name="connsiteY3" fmla="*/ 6652253 h 6652253"/>
              <a:gd name="connsiteX4" fmla="*/ 0 w 4224652"/>
              <a:gd name="connsiteY4" fmla="*/ 904240 h 6652253"/>
              <a:gd name="connsiteX0" fmla="*/ 0 w 4224652"/>
              <a:gd name="connsiteY0" fmla="*/ 873760 h 6621773"/>
              <a:gd name="connsiteX1" fmla="*/ 4224652 w 4224652"/>
              <a:gd name="connsiteY1" fmla="*/ 0 h 6621773"/>
              <a:gd name="connsiteX2" fmla="*/ 4194172 w 4224652"/>
              <a:gd name="connsiteY2" fmla="*/ 5768333 h 6621773"/>
              <a:gd name="connsiteX3" fmla="*/ 0 w 4224652"/>
              <a:gd name="connsiteY3" fmla="*/ 6621773 h 6621773"/>
              <a:gd name="connsiteX4" fmla="*/ 0 w 4224652"/>
              <a:gd name="connsiteY4" fmla="*/ 873760 h 6621773"/>
              <a:gd name="connsiteX0" fmla="*/ 0 w 4224652"/>
              <a:gd name="connsiteY0" fmla="*/ 873760 h 6621773"/>
              <a:gd name="connsiteX1" fmla="*/ 4224652 w 4224652"/>
              <a:gd name="connsiteY1" fmla="*/ 0 h 6621773"/>
              <a:gd name="connsiteX2" fmla="*/ 4223175 w 4224652"/>
              <a:gd name="connsiteY2" fmla="*/ 5757743 h 6621773"/>
              <a:gd name="connsiteX3" fmla="*/ 0 w 4224652"/>
              <a:gd name="connsiteY3" fmla="*/ 6621773 h 6621773"/>
              <a:gd name="connsiteX4" fmla="*/ 0 w 4224652"/>
              <a:gd name="connsiteY4" fmla="*/ 873760 h 6621773"/>
              <a:gd name="connsiteX0" fmla="*/ 0 w 8455715"/>
              <a:gd name="connsiteY0" fmla="*/ 16820 h 5764833"/>
              <a:gd name="connsiteX1" fmla="*/ 8455715 w 8455715"/>
              <a:gd name="connsiteY1" fmla="*/ 3026074 h 5764833"/>
              <a:gd name="connsiteX2" fmla="*/ 4223175 w 8455715"/>
              <a:gd name="connsiteY2" fmla="*/ 4900803 h 5764833"/>
              <a:gd name="connsiteX3" fmla="*/ 0 w 8455715"/>
              <a:gd name="connsiteY3" fmla="*/ 5764833 h 5764833"/>
              <a:gd name="connsiteX4" fmla="*/ 0 w 8455715"/>
              <a:gd name="connsiteY4" fmla="*/ 16820 h 5764833"/>
              <a:gd name="connsiteX0" fmla="*/ 0 w 8455720"/>
              <a:gd name="connsiteY0" fmla="*/ 18256 h 5766269"/>
              <a:gd name="connsiteX1" fmla="*/ 8455715 w 8455720"/>
              <a:gd name="connsiteY1" fmla="*/ 3027510 h 5766269"/>
              <a:gd name="connsiteX2" fmla="*/ 4223175 w 8455720"/>
              <a:gd name="connsiteY2" fmla="*/ 4902239 h 5766269"/>
              <a:gd name="connsiteX3" fmla="*/ 0 w 8455720"/>
              <a:gd name="connsiteY3" fmla="*/ 5766269 h 5766269"/>
              <a:gd name="connsiteX4" fmla="*/ 0 w 8455720"/>
              <a:gd name="connsiteY4" fmla="*/ 18256 h 5766269"/>
              <a:gd name="connsiteX0" fmla="*/ 0 w 8455718"/>
              <a:gd name="connsiteY0" fmla="*/ 0 h 5748013"/>
              <a:gd name="connsiteX1" fmla="*/ 8455715 w 8455718"/>
              <a:gd name="connsiteY1" fmla="*/ 3009254 h 5748013"/>
              <a:gd name="connsiteX2" fmla="*/ 4223175 w 8455718"/>
              <a:gd name="connsiteY2" fmla="*/ 4883983 h 5748013"/>
              <a:gd name="connsiteX3" fmla="*/ 0 w 8455718"/>
              <a:gd name="connsiteY3" fmla="*/ 5748013 h 5748013"/>
              <a:gd name="connsiteX4" fmla="*/ 0 w 8455718"/>
              <a:gd name="connsiteY4" fmla="*/ 0 h 5748013"/>
              <a:gd name="connsiteX0" fmla="*/ 0 w 8455739"/>
              <a:gd name="connsiteY0" fmla="*/ 0 h 5748013"/>
              <a:gd name="connsiteX1" fmla="*/ 8455715 w 8455739"/>
              <a:gd name="connsiteY1" fmla="*/ 3009254 h 5748013"/>
              <a:gd name="connsiteX2" fmla="*/ 4223175 w 8455739"/>
              <a:gd name="connsiteY2" fmla="*/ 4883983 h 5748013"/>
              <a:gd name="connsiteX3" fmla="*/ 0 w 8455739"/>
              <a:gd name="connsiteY3" fmla="*/ 5748013 h 5748013"/>
              <a:gd name="connsiteX4" fmla="*/ 0 w 8455739"/>
              <a:gd name="connsiteY4" fmla="*/ 0 h 5748013"/>
              <a:gd name="connsiteX0" fmla="*/ 0 w 8455718"/>
              <a:gd name="connsiteY0" fmla="*/ 0 h 5819131"/>
              <a:gd name="connsiteX1" fmla="*/ 8455715 w 8455718"/>
              <a:gd name="connsiteY1" fmla="*/ 3009254 h 5819131"/>
              <a:gd name="connsiteX2" fmla="*/ 0 w 8455718"/>
              <a:gd name="connsiteY2" fmla="*/ 5748013 h 5819131"/>
              <a:gd name="connsiteX3" fmla="*/ 0 w 8455718"/>
              <a:gd name="connsiteY3" fmla="*/ 0 h 5819131"/>
              <a:gd name="connsiteX0" fmla="*/ 0 w 8455718"/>
              <a:gd name="connsiteY0" fmla="*/ 0 h 5037537"/>
              <a:gd name="connsiteX1" fmla="*/ 8455715 w 8455718"/>
              <a:gd name="connsiteY1" fmla="*/ 3009254 h 5037537"/>
              <a:gd name="connsiteX2" fmla="*/ 2097240 w 8455718"/>
              <a:gd name="connsiteY2" fmla="*/ 4936016 h 5037537"/>
              <a:gd name="connsiteX3" fmla="*/ 0 w 8455718"/>
              <a:gd name="connsiteY3" fmla="*/ 0 h 5037537"/>
              <a:gd name="connsiteX0" fmla="*/ 0 w 8455718"/>
              <a:gd name="connsiteY0" fmla="*/ 0 h 5616879"/>
              <a:gd name="connsiteX1" fmla="*/ 8455715 w 8455718"/>
              <a:gd name="connsiteY1" fmla="*/ 3009254 h 5616879"/>
              <a:gd name="connsiteX2" fmla="*/ 1109585 w 8455718"/>
              <a:gd name="connsiteY2" fmla="*/ 5539809 h 5616879"/>
              <a:gd name="connsiteX3" fmla="*/ 0 w 8455718"/>
              <a:gd name="connsiteY3" fmla="*/ 0 h 5616879"/>
              <a:gd name="connsiteX0" fmla="*/ 0 w 8455718"/>
              <a:gd name="connsiteY0" fmla="*/ 0 h 5540312"/>
              <a:gd name="connsiteX1" fmla="*/ 8455715 w 8455718"/>
              <a:gd name="connsiteY1" fmla="*/ 3009254 h 5540312"/>
              <a:gd name="connsiteX2" fmla="*/ 1109585 w 8455718"/>
              <a:gd name="connsiteY2" fmla="*/ 5539809 h 5540312"/>
              <a:gd name="connsiteX3" fmla="*/ 0 w 8455718"/>
              <a:gd name="connsiteY3" fmla="*/ 0 h 5540312"/>
              <a:gd name="connsiteX0" fmla="*/ 0 w 8455718"/>
              <a:gd name="connsiteY0" fmla="*/ 0 h 5540122"/>
              <a:gd name="connsiteX1" fmla="*/ 8455715 w 8455718"/>
              <a:gd name="connsiteY1" fmla="*/ 3009254 h 5540122"/>
              <a:gd name="connsiteX2" fmla="*/ 1109585 w 8455718"/>
              <a:gd name="connsiteY2" fmla="*/ 5539809 h 5540122"/>
              <a:gd name="connsiteX3" fmla="*/ 0 w 8455718"/>
              <a:gd name="connsiteY3" fmla="*/ 0 h 5540122"/>
              <a:gd name="connsiteX0" fmla="*/ 0 w 8443525"/>
              <a:gd name="connsiteY0" fmla="*/ 0 h 5540121"/>
              <a:gd name="connsiteX1" fmla="*/ 8443522 w 8443525"/>
              <a:gd name="connsiteY1" fmla="*/ 2978024 h 5540121"/>
              <a:gd name="connsiteX2" fmla="*/ 1109585 w 8443525"/>
              <a:gd name="connsiteY2" fmla="*/ 5539809 h 5540121"/>
              <a:gd name="connsiteX3" fmla="*/ 0 w 8443525"/>
              <a:gd name="connsiteY3" fmla="*/ 0 h 5540121"/>
              <a:gd name="connsiteX0" fmla="*/ 0 w 8455718"/>
              <a:gd name="connsiteY0" fmla="*/ 0 h 5540122"/>
              <a:gd name="connsiteX1" fmla="*/ 8455715 w 8455718"/>
              <a:gd name="connsiteY1" fmla="*/ 2998845 h 5540122"/>
              <a:gd name="connsiteX2" fmla="*/ 1109585 w 8455718"/>
              <a:gd name="connsiteY2" fmla="*/ 5539809 h 5540122"/>
              <a:gd name="connsiteX3" fmla="*/ 0 w 8455718"/>
              <a:gd name="connsiteY3" fmla="*/ 0 h 5540122"/>
              <a:gd name="connsiteX0" fmla="*/ 0 w 8431332"/>
              <a:gd name="connsiteY0" fmla="*/ 0 h 5540121"/>
              <a:gd name="connsiteX1" fmla="*/ 8431328 w 8431332"/>
              <a:gd name="connsiteY1" fmla="*/ 2988436 h 5540121"/>
              <a:gd name="connsiteX2" fmla="*/ 1109585 w 8431332"/>
              <a:gd name="connsiteY2" fmla="*/ 5539809 h 5540121"/>
              <a:gd name="connsiteX3" fmla="*/ 0 w 8431332"/>
              <a:gd name="connsiteY3" fmla="*/ 0 h 5540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31332" h="5540121">
                <a:moveTo>
                  <a:pt x="0" y="0"/>
                </a:moveTo>
                <a:cubicBezTo>
                  <a:pt x="54765" y="233"/>
                  <a:pt x="8437529" y="2977792"/>
                  <a:pt x="8431328" y="2988436"/>
                </a:cubicBezTo>
                <a:cubicBezTo>
                  <a:pt x="8419135" y="2967875"/>
                  <a:pt x="1116645" y="5572892"/>
                  <a:pt x="1109585" y="5539809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</a:lstStyle>
          <a:p>
            <a:r>
              <a:rPr lang="en-US"/>
              <a:t> To insert picture, drag to</a:t>
            </a:r>
            <a:br>
              <a:rPr lang="en-US"/>
            </a:br>
            <a:r>
              <a:rPr lang="en-US"/>
              <a:t>placeholder or click icon to add.</a:t>
            </a:r>
          </a:p>
        </p:txBody>
      </p:sp>
      <p:sp>
        <p:nvSpPr>
          <p:cNvPr id="13" name="Freeform 12"/>
          <p:cNvSpPr/>
          <p:nvPr userDrawn="1"/>
        </p:nvSpPr>
        <p:spPr>
          <a:xfrm>
            <a:off x="2761673" y="3502580"/>
            <a:ext cx="9427146" cy="3355759"/>
          </a:xfrm>
          <a:custGeom>
            <a:avLst/>
            <a:gdLst>
              <a:gd name="connsiteX0" fmla="*/ 7918882 w 7918882"/>
              <a:gd name="connsiteY0" fmla="*/ 0 h 3355759"/>
              <a:gd name="connsiteX1" fmla="*/ 7918882 w 7918882"/>
              <a:gd name="connsiteY1" fmla="*/ 3355759 h 3355759"/>
              <a:gd name="connsiteX2" fmla="*/ 0 w 7918882"/>
              <a:gd name="connsiteY2" fmla="*/ 3355759 h 3355759"/>
              <a:gd name="connsiteX3" fmla="*/ 7918882 w 7918882"/>
              <a:gd name="connsiteY3" fmla="*/ 0 h 3355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18882" h="3355759">
                <a:moveTo>
                  <a:pt x="7918882" y="0"/>
                </a:moveTo>
                <a:lnTo>
                  <a:pt x="7918882" y="3355759"/>
                </a:lnTo>
                <a:lnTo>
                  <a:pt x="0" y="3355759"/>
                </a:lnTo>
                <a:lnTo>
                  <a:pt x="791888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16224" y="1943103"/>
            <a:ext cx="4595053" cy="1424905"/>
          </a:xfrm>
        </p:spPr>
        <p:txBody>
          <a:bodyPr anchor="b" anchorCtr="0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16224" y="3522846"/>
            <a:ext cx="6378538" cy="56851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="0" i="0">
                <a:latin typeface="+mj-lt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80624" y="5862900"/>
            <a:ext cx="6279947" cy="309303"/>
          </a:xfrm>
        </p:spPr>
        <p:txBody>
          <a:bodyPr>
            <a:noAutofit/>
          </a:bodyPr>
          <a:lstStyle>
            <a:lvl1pPr>
              <a:defRPr sz="1600" b="0" i="0">
                <a:latin typeface="+mn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305218"/>
            <a:ext cx="1508760" cy="380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3182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151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7251773" y="1884981"/>
            <a:ext cx="4330628" cy="4517330"/>
          </a:xfrm>
          <a:custGeom>
            <a:avLst/>
            <a:gdLst>
              <a:gd name="connsiteX0" fmla="*/ 4944862 w 4944862"/>
              <a:gd name="connsiteY0" fmla="*/ 0 h 5095782"/>
              <a:gd name="connsiteX1" fmla="*/ 4944862 w 4944862"/>
              <a:gd name="connsiteY1" fmla="*/ 4048217 h 5095782"/>
              <a:gd name="connsiteX2" fmla="*/ 0 w 4944862"/>
              <a:gd name="connsiteY2" fmla="*/ 5095782 h 5095782"/>
              <a:gd name="connsiteX3" fmla="*/ 4944862 w 4944862"/>
              <a:gd name="connsiteY3" fmla="*/ 0 h 5095782"/>
              <a:gd name="connsiteX0" fmla="*/ 0 w 2459115"/>
              <a:gd name="connsiteY0" fmla="*/ 0 h 4048217"/>
              <a:gd name="connsiteX1" fmla="*/ 0 w 2459115"/>
              <a:gd name="connsiteY1" fmla="*/ 4048217 h 4048217"/>
              <a:gd name="connsiteX2" fmla="*/ 2459115 w 2459115"/>
              <a:gd name="connsiteY2" fmla="*/ 2006353 h 4048217"/>
              <a:gd name="connsiteX3" fmla="*/ 0 w 2459115"/>
              <a:gd name="connsiteY3" fmla="*/ 0 h 4048217"/>
              <a:gd name="connsiteX0" fmla="*/ 8877 w 2467992"/>
              <a:gd name="connsiteY0" fmla="*/ 0 h 2547891"/>
              <a:gd name="connsiteX1" fmla="*/ 0 w 2467992"/>
              <a:gd name="connsiteY1" fmla="*/ 2547891 h 2547891"/>
              <a:gd name="connsiteX2" fmla="*/ 2467992 w 2467992"/>
              <a:gd name="connsiteY2" fmla="*/ 2006353 h 2547891"/>
              <a:gd name="connsiteX3" fmla="*/ 8877 w 2467992"/>
              <a:gd name="connsiteY3" fmla="*/ 0 h 2547891"/>
              <a:gd name="connsiteX0" fmla="*/ 0 w 2459115"/>
              <a:gd name="connsiteY0" fmla="*/ 0 h 3062796"/>
              <a:gd name="connsiteX1" fmla="*/ 8878 w 2459115"/>
              <a:gd name="connsiteY1" fmla="*/ 3062796 h 3062796"/>
              <a:gd name="connsiteX2" fmla="*/ 2459115 w 2459115"/>
              <a:gd name="connsiteY2" fmla="*/ 2006353 h 3062796"/>
              <a:gd name="connsiteX3" fmla="*/ 0 w 2459115"/>
              <a:gd name="connsiteY3" fmla="*/ 0 h 3062796"/>
              <a:gd name="connsiteX0" fmla="*/ 0 w 2476871"/>
              <a:gd name="connsiteY0" fmla="*/ 0 h 3062796"/>
              <a:gd name="connsiteX1" fmla="*/ 8878 w 2476871"/>
              <a:gd name="connsiteY1" fmla="*/ 3062796 h 3062796"/>
              <a:gd name="connsiteX2" fmla="*/ 2476871 w 2476871"/>
              <a:gd name="connsiteY2" fmla="*/ 2024108 h 3062796"/>
              <a:gd name="connsiteX3" fmla="*/ 0 w 2476871"/>
              <a:gd name="connsiteY3" fmla="*/ 0 h 3062796"/>
              <a:gd name="connsiteX0" fmla="*/ 854 w 2477725"/>
              <a:gd name="connsiteY0" fmla="*/ 0 h 3071673"/>
              <a:gd name="connsiteX1" fmla="*/ 854 w 2477725"/>
              <a:gd name="connsiteY1" fmla="*/ 3071673 h 3071673"/>
              <a:gd name="connsiteX2" fmla="*/ 2477725 w 2477725"/>
              <a:gd name="connsiteY2" fmla="*/ 2024108 h 3071673"/>
              <a:gd name="connsiteX3" fmla="*/ 854 w 2477725"/>
              <a:gd name="connsiteY3" fmla="*/ 0 h 3071673"/>
              <a:gd name="connsiteX0" fmla="*/ 754351 w 3231222"/>
              <a:gd name="connsiteY0" fmla="*/ 0 h 4437430"/>
              <a:gd name="connsiteX1" fmla="*/ 8 w 3231222"/>
              <a:gd name="connsiteY1" fmla="*/ 4437430 h 4437430"/>
              <a:gd name="connsiteX2" fmla="*/ 3231222 w 3231222"/>
              <a:gd name="connsiteY2" fmla="*/ 2024108 h 4437430"/>
              <a:gd name="connsiteX3" fmla="*/ 754351 w 3231222"/>
              <a:gd name="connsiteY3" fmla="*/ 0 h 4437430"/>
              <a:gd name="connsiteX0" fmla="*/ 873458 w 3231222"/>
              <a:gd name="connsiteY0" fmla="*/ 0 h 3230482"/>
              <a:gd name="connsiteX1" fmla="*/ 8 w 3231222"/>
              <a:gd name="connsiteY1" fmla="*/ 3230482 h 3230482"/>
              <a:gd name="connsiteX2" fmla="*/ 3231222 w 3231222"/>
              <a:gd name="connsiteY2" fmla="*/ 817160 h 3230482"/>
              <a:gd name="connsiteX3" fmla="*/ 873458 w 3231222"/>
              <a:gd name="connsiteY3" fmla="*/ 0 h 3230482"/>
              <a:gd name="connsiteX0" fmla="*/ 659067 w 3231223"/>
              <a:gd name="connsiteY0" fmla="*/ 0 h 4040408"/>
              <a:gd name="connsiteX1" fmla="*/ 9 w 3231223"/>
              <a:gd name="connsiteY1" fmla="*/ 4040408 h 4040408"/>
              <a:gd name="connsiteX2" fmla="*/ 3231223 w 3231223"/>
              <a:gd name="connsiteY2" fmla="*/ 1627086 h 4040408"/>
              <a:gd name="connsiteX3" fmla="*/ 659067 w 3231223"/>
              <a:gd name="connsiteY3" fmla="*/ 0 h 4040408"/>
              <a:gd name="connsiteX0" fmla="*/ 659067 w 3231223"/>
              <a:gd name="connsiteY0" fmla="*/ 31 h 4040439"/>
              <a:gd name="connsiteX1" fmla="*/ 9 w 3231223"/>
              <a:gd name="connsiteY1" fmla="*/ 4040439 h 4040439"/>
              <a:gd name="connsiteX2" fmla="*/ 3231223 w 3231223"/>
              <a:gd name="connsiteY2" fmla="*/ 1627117 h 4040439"/>
              <a:gd name="connsiteX3" fmla="*/ 659067 w 3231223"/>
              <a:gd name="connsiteY3" fmla="*/ 31 h 4040439"/>
              <a:gd name="connsiteX0" fmla="*/ 659058 w 3231214"/>
              <a:gd name="connsiteY0" fmla="*/ 24 h 4040432"/>
              <a:gd name="connsiteX1" fmla="*/ 0 w 3231214"/>
              <a:gd name="connsiteY1" fmla="*/ 4040432 h 4040432"/>
              <a:gd name="connsiteX2" fmla="*/ 3231214 w 3231214"/>
              <a:gd name="connsiteY2" fmla="*/ 1627110 h 4040432"/>
              <a:gd name="connsiteX3" fmla="*/ 659058 w 3231214"/>
              <a:gd name="connsiteY3" fmla="*/ 24 h 4040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1214" h="4040432">
                <a:moveTo>
                  <a:pt x="659058" y="24"/>
                </a:moveTo>
                <a:cubicBezTo>
                  <a:pt x="669958" y="-11302"/>
                  <a:pt x="4982" y="4035877"/>
                  <a:pt x="0" y="4040432"/>
                </a:cubicBezTo>
                <a:lnTo>
                  <a:pt x="3231214" y="1627110"/>
                </a:lnTo>
                <a:lnTo>
                  <a:pt x="659058" y="2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3" name="Picture Placeholder 3"/>
          <p:cNvSpPr txBox="1">
            <a:spLocks/>
          </p:cNvSpPr>
          <p:nvPr userDrawn="1"/>
        </p:nvSpPr>
        <p:spPr>
          <a:xfrm>
            <a:off x="2118361" y="1883694"/>
            <a:ext cx="9516815" cy="4537089"/>
          </a:xfrm>
          <a:custGeom>
            <a:avLst/>
            <a:gdLst>
              <a:gd name="connsiteX0" fmla="*/ 3 w 2571750"/>
              <a:gd name="connsiteY0" fmla="*/ 982319 h 2571750"/>
              <a:gd name="connsiteX1" fmla="*/ 1285875 w 2571750"/>
              <a:gd name="connsiteY1" fmla="*/ 0 h 2571750"/>
              <a:gd name="connsiteX2" fmla="*/ 2571747 w 2571750"/>
              <a:gd name="connsiteY2" fmla="*/ 982319 h 2571750"/>
              <a:gd name="connsiteX3" fmla="*/ 2080588 w 2571750"/>
              <a:gd name="connsiteY3" fmla="*/ 2571743 h 2571750"/>
              <a:gd name="connsiteX4" fmla="*/ 491162 w 2571750"/>
              <a:gd name="connsiteY4" fmla="*/ 2571743 h 2571750"/>
              <a:gd name="connsiteX5" fmla="*/ 3 w 2571750"/>
              <a:gd name="connsiteY5" fmla="*/ 982319 h 2571750"/>
              <a:gd name="connsiteX0" fmla="*/ 0 w 2571744"/>
              <a:gd name="connsiteY0" fmla="*/ 1791944 h 3381368"/>
              <a:gd name="connsiteX1" fmla="*/ 1800222 w 2571744"/>
              <a:gd name="connsiteY1" fmla="*/ 0 h 3381368"/>
              <a:gd name="connsiteX2" fmla="*/ 2571744 w 2571744"/>
              <a:gd name="connsiteY2" fmla="*/ 1791944 h 3381368"/>
              <a:gd name="connsiteX3" fmla="*/ 2080585 w 2571744"/>
              <a:gd name="connsiteY3" fmla="*/ 3381368 h 3381368"/>
              <a:gd name="connsiteX4" fmla="*/ 491159 w 2571744"/>
              <a:gd name="connsiteY4" fmla="*/ 3381368 h 3381368"/>
              <a:gd name="connsiteX5" fmla="*/ 0 w 2571744"/>
              <a:gd name="connsiteY5" fmla="*/ 1791944 h 3381368"/>
              <a:gd name="connsiteX0" fmla="*/ 0 w 5010144"/>
              <a:gd name="connsiteY0" fmla="*/ 2458694 h 3381368"/>
              <a:gd name="connsiteX1" fmla="*/ 4238622 w 5010144"/>
              <a:gd name="connsiteY1" fmla="*/ 0 h 3381368"/>
              <a:gd name="connsiteX2" fmla="*/ 5010144 w 5010144"/>
              <a:gd name="connsiteY2" fmla="*/ 1791944 h 3381368"/>
              <a:gd name="connsiteX3" fmla="*/ 4518985 w 5010144"/>
              <a:gd name="connsiteY3" fmla="*/ 3381368 h 3381368"/>
              <a:gd name="connsiteX4" fmla="*/ 2929559 w 5010144"/>
              <a:gd name="connsiteY4" fmla="*/ 3381368 h 3381368"/>
              <a:gd name="connsiteX5" fmla="*/ 0 w 5010144"/>
              <a:gd name="connsiteY5" fmla="*/ 2458694 h 3381368"/>
              <a:gd name="connsiteX0" fmla="*/ 0 w 5010144"/>
              <a:gd name="connsiteY0" fmla="*/ 2458694 h 6905618"/>
              <a:gd name="connsiteX1" fmla="*/ 4238622 w 5010144"/>
              <a:gd name="connsiteY1" fmla="*/ 0 h 6905618"/>
              <a:gd name="connsiteX2" fmla="*/ 5010144 w 5010144"/>
              <a:gd name="connsiteY2" fmla="*/ 1791944 h 6905618"/>
              <a:gd name="connsiteX3" fmla="*/ 4518985 w 5010144"/>
              <a:gd name="connsiteY3" fmla="*/ 3381368 h 6905618"/>
              <a:gd name="connsiteX4" fmla="*/ 2872409 w 5010144"/>
              <a:gd name="connsiteY4" fmla="*/ 6905618 h 6905618"/>
              <a:gd name="connsiteX5" fmla="*/ 0 w 5010144"/>
              <a:gd name="connsiteY5" fmla="*/ 2458694 h 6905618"/>
              <a:gd name="connsiteX0" fmla="*/ 0 w 5319085"/>
              <a:gd name="connsiteY0" fmla="*/ 2458694 h 6905618"/>
              <a:gd name="connsiteX1" fmla="*/ 4238622 w 5319085"/>
              <a:gd name="connsiteY1" fmla="*/ 0 h 6905618"/>
              <a:gd name="connsiteX2" fmla="*/ 5010144 w 5319085"/>
              <a:gd name="connsiteY2" fmla="*/ 1791944 h 6905618"/>
              <a:gd name="connsiteX3" fmla="*/ 5319085 w 5319085"/>
              <a:gd name="connsiteY3" fmla="*/ 6867518 h 6905618"/>
              <a:gd name="connsiteX4" fmla="*/ 2872409 w 5319085"/>
              <a:gd name="connsiteY4" fmla="*/ 6905618 h 6905618"/>
              <a:gd name="connsiteX5" fmla="*/ 0 w 5319085"/>
              <a:gd name="connsiteY5" fmla="*/ 2458694 h 6905618"/>
              <a:gd name="connsiteX0" fmla="*/ 0 w 5319085"/>
              <a:gd name="connsiteY0" fmla="*/ 2458694 h 6896093"/>
              <a:gd name="connsiteX1" fmla="*/ 4238622 w 5319085"/>
              <a:gd name="connsiteY1" fmla="*/ 0 h 6896093"/>
              <a:gd name="connsiteX2" fmla="*/ 5010144 w 5319085"/>
              <a:gd name="connsiteY2" fmla="*/ 1791944 h 6896093"/>
              <a:gd name="connsiteX3" fmla="*/ 5319085 w 5319085"/>
              <a:gd name="connsiteY3" fmla="*/ 6867518 h 6896093"/>
              <a:gd name="connsiteX4" fmla="*/ 2862884 w 5319085"/>
              <a:gd name="connsiteY4" fmla="*/ 6896093 h 6896093"/>
              <a:gd name="connsiteX5" fmla="*/ 0 w 5319085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5319085 w 8543919"/>
              <a:gd name="connsiteY3" fmla="*/ 6867518 h 6896093"/>
              <a:gd name="connsiteX4" fmla="*/ 2862884 w 8543919"/>
              <a:gd name="connsiteY4" fmla="*/ 6896093 h 6896093"/>
              <a:gd name="connsiteX5" fmla="*/ 0 w 8543919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105772 w 8543919"/>
              <a:gd name="connsiteY3" fmla="*/ 30575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327425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02910 w 8527744"/>
              <a:gd name="connsiteY4" fmla="*/ 686751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523432 w 8527744"/>
              <a:gd name="connsiteY3" fmla="*/ 5782739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846709 w 8527744"/>
              <a:gd name="connsiteY5" fmla="*/ 689609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935665 w 8527744"/>
              <a:gd name="connsiteY5" fmla="*/ 687348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307659 w 8527744"/>
              <a:gd name="connsiteY5" fmla="*/ 6843336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170183 w 8527744"/>
              <a:gd name="connsiteY5" fmla="*/ 6911167 h 6912738"/>
              <a:gd name="connsiteX6" fmla="*/ 0 w 8527744"/>
              <a:gd name="connsiteY6" fmla="*/ 2353181 h 6912738"/>
              <a:gd name="connsiteX0" fmla="*/ 0 w 8527744"/>
              <a:gd name="connsiteY0" fmla="*/ 2371035 h 6930592"/>
              <a:gd name="connsiteX1" fmla="*/ 3301 w 8527744"/>
              <a:gd name="connsiteY1" fmla="*/ 0 h 6930592"/>
              <a:gd name="connsiteX2" fmla="*/ 8527744 w 8527744"/>
              <a:gd name="connsiteY2" fmla="*/ 2345279 h 6930592"/>
              <a:gd name="connsiteX3" fmla="*/ 8523432 w 8527744"/>
              <a:gd name="connsiteY3" fmla="*/ 5800593 h 6930592"/>
              <a:gd name="connsiteX4" fmla="*/ 5310998 w 8527744"/>
              <a:gd name="connsiteY4" fmla="*/ 6930592 h 6930592"/>
              <a:gd name="connsiteX5" fmla="*/ 3170183 w 8527744"/>
              <a:gd name="connsiteY5" fmla="*/ 6929021 h 6930592"/>
              <a:gd name="connsiteX6" fmla="*/ 0 w 8527744"/>
              <a:gd name="connsiteY6" fmla="*/ 2371035 h 6930592"/>
              <a:gd name="connsiteX0" fmla="*/ 0 w 8527744"/>
              <a:gd name="connsiteY0" fmla="*/ 2371035 h 6930592"/>
              <a:gd name="connsiteX1" fmla="*/ 3301 w 8527744"/>
              <a:gd name="connsiteY1" fmla="*/ 0 h 6930592"/>
              <a:gd name="connsiteX2" fmla="*/ 8527744 w 8527744"/>
              <a:gd name="connsiteY2" fmla="*/ 2345279 h 6930592"/>
              <a:gd name="connsiteX3" fmla="*/ 8523432 w 8527744"/>
              <a:gd name="connsiteY3" fmla="*/ 5800593 h 6930592"/>
              <a:gd name="connsiteX4" fmla="*/ 5310998 w 8527744"/>
              <a:gd name="connsiteY4" fmla="*/ 6930592 h 6930592"/>
              <a:gd name="connsiteX5" fmla="*/ 3170183 w 8527744"/>
              <a:gd name="connsiteY5" fmla="*/ 6929021 h 6930592"/>
              <a:gd name="connsiteX6" fmla="*/ 0 w 8527744"/>
              <a:gd name="connsiteY6" fmla="*/ 2371035 h 6930592"/>
              <a:gd name="connsiteX0" fmla="*/ 0 w 11641338"/>
              <a:gd name="connsiteY0" fmla="*/ 2681028 h 7240585"/>
              <a:gd name="connsiteX1" fmla="*/ 3301 w 11641338"/>
              <a:gd name="connsiteY1" fmla="*/ 309993 h 7240585"/>
              <a:gd name="connsiteX2" fmla="*/ 11641338 w 11641338"/>
              <a:gd name="connsiteY2" fmla="*/ 352111 h 7240585"/>
              <a:gd name="connsiteX3" fmla="*/ 8523432 w 11641338"/>
              <a:gd name="connsiteY3" fmla="*/ 6110586 h 7240585"/>
              <a:gd name="connsiteX4" fmla="*/ 5310998 w 11641338"/>
              <a:gd name="connsiteY4" fmla="*/ 7240585 h 7240585"/>
              <a:gd name="connsiteX5" fmla="*/ 3170183 w 11641338"/>
              <a:gd name="connsiteY5" fmla="*/ 7239014 h 7240585"/>
              <a:gd name="connsiteX6" fmla="*/ 0 w 11641338"/>
              <a:gd name="connsiteY6" fmla="*/ 2681028 h 7240585"/>
              <a:gd name="connsiteX0" fmla="*/ 0 w 11641338"/>
              <a:gd name="connsiteY0" fmla="*/ 2371035 h 6930592"/>
              <a:gd name="connsiteX1" fmla="*/ 3301 w 11641338"/>
              <a:gd name="connsiteY1" fmla="*/ 0 h 6930592"/>
              <a:gd name="connsiteX2" fmla="*/ 11641338 w 11641338"/>
              <a:gd name="connsiteY2" fmla="*/ 42118 h 6930592"/>
              <a:gd name="connsiteX3" fmla="*/ 8523432 w 11641338"/>
              <a:gd name="connsiteY3" fmla="*/ 5800593 h 6930592"/>
              <a:gd name="connsiteX4" fmla="*/ 5310998 w 11641338"/>
              <a:gd name="connsiteY4" fmla="*/ 6930592 h 6930592"/>
              <a:gd name="connsiteX5" fmla="*/ 3170183 w 11641338"/>
              <a:gd name="connsiteY5" fmla="*/ 6929021 h 6930592"/>
              <a:gd name="connsiteX6" fmla="*/ 0 w 11641338"/>
              <a:gd name="connsiteY6" fmla="*/ 2371035 h 6930592"/>
              <a:gd name="connsiteX0" fmla="*/ 0 w 11641338"/>
              <a:gd name="connsiteY0" fmla="*/ 2371035 h 6930592"/>
              <a:gd name="connsiteX1" fmla="*/ 3301 w 11641338"/>
              <a:gd name="connsiteY1" fmla="*/ 0 h 6930592"/>
              <a:gd name="connsiteX2" fmla="*/ 11641338 w 11641338"/>
              <a:gd name="connsiteY2" fmla="*/ 42118 h 6930592"/>
              <a:gd name="connsiteX3" fmla="*/ 11591901 w 11641338"/>
              <a:gd name="connsiteY3" fmla="*/ 578309 h 6930592"/>
              <a:gd name="connsiteX4" fmla="*/ 5310998 w 11641338"/>
              <a:gd name="connsiteY4" fmla="*/ 6930592 h 6930592"/>
              <a:gd name="connsiteX5" fmla="*/ 3170183 w 11641338"/>
              <a:gd name="connsiteY5" fmla="*/ 6929021 h 6930592"/>
              <a:gd name="connsiteX6" fmla="*/ 0 w 11641338"/>
              <a:gd name="connsiteY6" fmla="*/ 2371035 h 6930592"/>
              <a:gd name="connsiteX0" fmla="*/ 0 w 11641338"/>
              <a:gd name="connsiteY0" fmla="*/ 2371035 h 6930592"/>
              <a:gd name="connsiteX1" fmla="*/ 3301 w 11641338"/>
              <a:gd name="connsiteY1" fmla="*/ 0 h 6930592"/>
              <a:gd name="connsiteX2" fmla="*/ 11641338 w 11641338"/>
              <a:gd name="connsiteY2" fmla="*/ 42118 h 6930592"/>
              <a:gd name="connsiteX3" fmla="*/ 11591901 w 11641338"/>
              <a:gd name="connsiteY3" fmla="*/ 578309 h 6930592"/>
              <a:gd name="connsiteX4" fmla="*/ 5310998 w 11641338"/>
              <a:gd name="connsiteY4" fmla="*/ 6930592 h 6930592"/>
              <a:gd name="connsiteX5" fmla="*/ 3170183 w 11641338"/>
              <a:gd name="connsiteY5" fmla="*/ 6929021 h 6930592"/>
              <a:gd name="connsiteX6" fmla="*/ 0 w 11641338"/>
              <a:gd name="connsiteY6" fmla="*/ 2371035 h 6930592"/>
              <a:gd name="connsiteX0" fmla="*/ 0 w 11672043"/>
              <a:gd name="connsiteY0" fmla="*/ 2371035 h 6930592"/>
              <a:gd name="connsiteX1" fmla="*/ 3301 w 11672043"/>
              <a:gd name="connsiteY1" fmla="*/ 0 h 6930592"/>
              <a:gd name="connsiteX2" fmla="*/ 11641338 w 11672043"/>
              <a:gd name="connsiteY2" fmla="*/ 42118 h 6930592"/>
              <a:gd name="connsiteX3" fmla="*/ 11648308 w 11672043"/>
              <a:gd name="connsiteY3" fmla="*/ 569383 h 6930592"/>
              <a:gd name="connsiteX4" fmla="*/ 5310998 w 11672043"/>
              <a:gd name="connsiteY4" fmla="*/ 6930592 h 6930592"/>
              <a:gd name="connsiteX5" fmla="*/ 3170183 w 11672043"/>
              <a:gd name="connsiteY5" fmla="*/ 6929021 h 6930592"/>
              <a:gd name="connsiteX6" fmla="*/ 0 w 11672043"/>
              <a:gd name="connsiteY6" fmla="*/ 2371035 h 6930592"/>
              <a:gd name="connsiteX0" fmla="*/ 0 w 11652399"/>
              <a:gd name="connsiteY0" fmla="*/ 2371035 h 6930592"/>
              <a:gd name="connsiteX1" fmla="*/ 3301 w 11652399"/>
              <a:gd name="connsiteY1" fmla="*/ 0 h 6930592"/>
              <a:gd name="connsiteX2" fmla="*/ 11641338 w 11652399"/>
              <a:gd name="connsiteY2" fmla="*/ 42118 h 6930592"/>
              <a:gd name="connsiteX3" fmla="*/ 11648308 w 11652399"/>
              <a:gd name="connsiteY3" fmla="*/ 569383 h 6930592"/>
              <a:gd name="connsiteX4" fmla="*/ 5310998 w 11652399"/>
              <a:gd name="connsiteY4" fmla="*/ 6930592 h 6930592"/>
              <a:gd name="connsiteX5" fmla="*/ 3170183 w 11652399"/>
              <a:gd name="connsiteY5" fmla="*/ 6929021 h 6930592"/>
              <a:gd name="connsiteX6" fmla="*/ 0 w 11652399"/>
              <a:gd name="connsiteY6" fmla="*/ 2371035 h 6930592"/>
              <a:gd name="connsiteX0" fmla="*/ 41845 w 11649119"/>
              <a:gd name="connsiteY0" fmla="*/ 6218565 h 6930592"/>
              <a:gd name="connsiteX1" fmla="*/ 21 w 11649119"/>
              <a:gd name="connsiteY1" fmla="*/ 0 h 6930592"/>
              <a:gd name="connsiteX2" fmla="*/ 11638058 w 11649119"/>
              <a:gd name="connsiteY2" fmla="*/ 42118 h 6930592"/>
              <a:gd name="connsiteX3" fmla="*/ 11645028 w 11649119"/>
              <a:gd name="connsiteY3" fmla="*/ 569383 h 6930592"/>
              <a:gd name="connsiteX4" fmla="*/ 5307718 w 11649119"/>
              <a:gd name="connsiteY4" fmla="*/ 6930592 h 6930592"/>
              <a:gd name="connsiteX5" fmla="*/ 3166903 w 11649119"/>
              <a:gd name="connsiteY5" fmla="*/ 6929021 h 6930592"/>
              <a:gd name="connsiteX6" fmla="*/ 41845 w 11649119"/>
              <a:gd name="connsiteY6" fmla="*/ 6218565 h 6930592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187647 w 11649119"/>
              <a:gd name="connsiteY4" fmla="*/ 3654390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187647 w 11649119"/>
              <a:gd name="connsiteY4" fmla="*/ 3654390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5883056 w 11649119"/>
              <a:gd name="connsiteY4" fmla="*/ 2842035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435832 w 11649119"/>
              <a:gd name="connsiteY4" fmla="*/ 3074136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435832 w 11649119"/>
              <a:gd name="connsiteY4" fmla="*/ 3074136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2230568 w 11649119"/>
              <a:gd name="connsiteY5" fmla="*/ 2956514 h 6218565"/>
              <a:gd name="connsiteX6" fmla="*/ 41845 w 11649119"/>
              <a:gd name="connsiteY6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685052 w 11649119"/>
              <a:gd name="connsiteY5" fmla="*/ 5920272 h 6218565"/>
              <a:gd name="connsiteX6" fmla="*/ 41845 w 11649119"/>
              <a:gd name="connsiteY6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910610 w 11649119"/>
              <a:gd name="connsiteY5" fmla="*/ 5785337 h 6218565"/>
              <a:gd name="connsiteX6" fmla="*/ 685052 w 11649119"/>
              <a:gd name="connsiteY6" fmla="*/ 5920272 h 6218565"/>
              <a:gd name="connsiteX7" fmla="*/ 41845 w 11649119"/>
              <a:gd name="connsiteY7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414240 w 11649119"/>
              <a:gd name="connsiteY5" fmla="*/ 5544308 h 6218565"/>
              <a:gd name="connsiteX6" fmla="*/ 685052 w 11649119"/>
              <a:gd name="connsiteY6" fmla="*/ 5920272 h 6218565"/>
              <a:gd name="connsiteX7" fmla="*/ 41845 w 11649119"/>
              <a:gd name="connsiteY7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2038724 w 11649119"/>
              <a:gd name="connsiteY5" fmla="*/ 4856930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1350574 w 11649119"/>
              <a:gd name="connsiteY5" fmla="*/ 1866392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054026 w 11649119"/>
              <a:gd name="connsiteY5" fmla="*/ 1179014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674488 w 11649119"/>
              <a:gd name="connsiteY5" fmla="*/ 857643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8119 w 11649119"/>
              <a:gd name="connsiteY6" fmla="*/ 4580194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75806 w 11649119"/>
              <a:gd name="connsiteY6" fmla="*/ 3089389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402958 w 11649119"/>
              <a:gd name="connsiteY6" fmla="*/ 3464323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651143 w 11649119"/>
              <a:gd name="connsiteY7" fmla="*/ 5615724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527050 w 11649119"/>
              <a:gd name="connsiteY7" fmla="*/ 584782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290146 w 11649119"/>
              <a:gd name="connsiteY7" fmla="*/ 5883534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365795 w 11649119"/>
              <a:gd name="connsiteY7" fmla="*/ 59649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66480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81177 w 11649119"/>
              <a:gd name="connsiteY5" fmla="*/ 1375407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56865 w 11649119"/>
              <a:gd name="connsiteY4" fmla="*/ 3091991 h 6218565"/>
              <a:gd name="connsiteX5" fmla="*/ 3381177 w 11649119"/>
              <a:gd name="connsiteY5" fmla="*/ 1375407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19302 w 11649138"/>
              <a:gd name="connsiteY0" fmla="*/ 6209638 h 6209638"/>
              <a:gd name="connsiteX1" fmla="*/ 40 w 11649138"/>
              <a:gd name="connsiteY1" fmla="*/ 0 h 6209638"/>
              <a:gd name="connsiteX2" fmla="*/ 11638077 w 11649138"/>
              <a:gd name="connsiteY2" fmla="*/ 42118 h 6209638"/>
              <a:gd name="connsiteX3" fmla="*/ 11645047 w 11649138"/>
              <a:gd name="connsiteY3" fmla="*/ 569383 h 6209638"/>
              <a:gd name="connsiteX4" fmla="*/ 6356884 w 11649138"/>
              <a:gd name="connsiteY4" fmla="*/ 3091991 h 6209638"/>
              <a:gd name="connsiteX5" fmla="*/ 3381196 w 11649138"/>
              <a:gd name="connsiteY5" fmla="*/ 1375407 h 6209638"/>
              <a:gd name="connsiteX6" fmla="*/ 418108 w 11649138"/>
              <a:gd name="connsiteY6" fmla="*/ 3437984 h 6209638"/>
              <a:gd name="connsiteX7" fmla="*/ 417255 w 11649138"/>
              <a:gd name="connsiteY7" fmla="*/ 5921846 h 6209638"/>
              <a:gd name="connsiteX8" fmla="*/ 685071 w 11649138"/>
              <a:gd name="connsiteY8" fmla="*/ 5920272 h 6209638"/>
              <a:gd name="connsiteX9" fmla="*/ 19302 w 11649138"/>
              <a:gd name="connsiteY9" fmla="*/ 6209638 h 6209638"/>
              <a:gd name="connsiteX0" fmla="*/ 8065 w 11649181"/>
              <a:gd name="connsiteY0" fmla="*/ 6218564 h 6218564"/>
              <a:gd name="connsiteX1" fmla="*/ 83 w 11649181"/>
              <a:gd name="connsiteY1" fmla="*/ 0 h 6218564"/>
              <a:gd name="connsiteX2" fmla="*/ 11638120 w 11649181"/>
              <a:gd name="connsiteY2" fmla="*/ 42118 h 6218564"/>
              <a:gd name="connsiteX3" fmla="*/ 11645090 w 11649181"/>
              <a:gd name="connsiteY3" fmla="*/ 569383 h 6218564"/>
              <a:gd name="connsiteX4" fmla="*/ 6356927 w 11649181"/>
              <a:gd name="connsiteY4" fmla="*/ 3091991 h 6218564"/>
              <a:gd name="connsiteX5" fmla="*/ 3381239 w 11649181"/>
              <a:gd name="connsiteY5" fmla="*/ 1375407 h 6218564"/>
              <a:gd name="connsiteX6" fmla="*/ 418151 w 11649181"/>
              <a:gd name="connsiteY6" fmla="*/ 3437984 h 6218564"/>
              <a:gd name="connsiteX7" fmla="*/ 417298 w 11649181"/>
              <a:gd name="connsiteY7" fmla="*/ 5921846 h 6218564"/>
              <a:gd name="connsiteX8" fmla="*/ 685114 w 11649181"/>
              <a:gd name="connsiteY8" fmla="*/ 5920272 h 6218564"/>
              <a:gd name="connsiteX9" fmla="*/ 8065 w 11649181"/>
              <a:gd name="connsiteY9" fmla="*/ 6218564 h 6218564"/>
              <a:gd name="connsiteX0" fmla="*/ 8065 w 11649181"/>
              <a:gd name="connsiteY0" fmla="*/ 6218564 h 6218564"/>
              <a:gd name="connsiteX1" fmla="*/ 83 w 11649181"/>
              <a:gd name="connsiteY1" fmla="*/ 0 h 6218564"/>
              <a:gd name="connsiteX2" fmla="*/ 11638120 w 11649181"/>
              <a:gd name="connsiteY2" fmla="*/ 42118 h 6218564"/>
              <a:gd name="connsiteX3" fmla="*/ 11645090 w 11649181"/>
              <a:gd name="connsiteY3" fmla="*/ 569383 h 6218564"/>
              <a:gd name="connsiteX4" fmla="*/ 6356927 w 11649181"/>
              <a:gd name="connsiteY4" fmla="*/ 3091991 h 6218564"/>
              <a:gd name="connsiteX5" fmla="*/ 3381239 w 11649181"/>
              <a:gd name="connsiteY5" fmla="*/ 1375407 h 6218564"/>
              <a:gd name="connsiteX6" fmla="*/ 418151 w 11649181"/>
              <a:gd name="connsiteY6" fmla="*/ 3437984 h 6218564"/>
              <a:gd name="connsiteX7" fmla="*/ 417298 w 11649181"/>
              <a:gd name="connsiteY7" fmla="*/ 5921846 h 6218564"/>
              <a:gd name="connsiteX8" fmla="*/ 685114 w 11649181"/>
              <a:gd name="connsiteY8" fmla="*/ 5920272 h 6218564"/>
              <a:gd name="connsiteX9" fmla="*/ 8065 w 11649181"/>
              <a:gd name="connsiteY9" fmla="*/ 6218564 h 6218564"/>
              <a:gd name="connsiteX0" fmla="*/ 8065 w 11647413"/>
              <a:gd name="connsiteY0" fmla="*/ 6218564 h 6218564"/>
              <a:gd name="connsiteX1" fmla="*/ 83 w 11647413"/>
              <a:gd name="connsiteY1" fmla="*/ 0 h 6218564"/>
              <a:gd name="connsiteX2" fmla="*/ 11615559 w 11647413"/>
              <a:gd name="connsiteY2" fmla="*/ 33190 h 6218564"/>
              <a:gd name="connsiteX3" fmla="*/ 11645090 w 11647413"/>
              <a:gd name="connsiteY3" fmla="*/ 569383 h 6218564"/>
              <a:gd name="connsiteX4" fmla="*/ 6356927 w 11647413"/>
              <a:gd name="connsiteY4" fmla="*/ 3091991 h 6218564"/>
              <a:gd name="connsiteX5" fmla="*/ 3381239 w 11647413"/>
              <a:gd name="connsiteY5" fmla="*/ 1375407 h 6218564"/>
              <a:gd name="connsiteX6" fmla="*/ 418151 w 11647413"/>
              <a:gd name="connsiteY6" fmla="*/ 3437984 h 6218564"/>
              <a:gd name="connsiteX7" fmla="*/ 417298 w 11647413"/>
              <a:gd name="connsiteY7" fmla="*/ 5921846 h 6218564"/>
              <a:gd name="connsiteX8" fmla="*/ 685114 w 11647413"/>
              <a:gd name="connsiteY8" fmla="*/ 5920272 h 6218564"/>
              <a:gd name="connsiteX9" fmla="*/ 8065 w 11647413"/>
              <a:gd name="connsiteY9" fmla="*/ 6218564 h 6218564"/>
              <a:gd name="connsiteX0" fmla="*/ 0 w 11639349"/>
              <a:gd name="connsiteY0" fmla="*/ 6209637 h 6209637"/>
              <a:gd name="connsiteX1" fmla="*/ 3299 w 11639349"/>
              <a:gd name="connsiteY1" fmla="*/ 0 h 6209637"/>
              <a:gd name="connsiteX2" fmla="*/ 11607494 w 11639349"/>
              <a:gd name="connsiteY2" fmla="*/ 24263 h 6209637"/>
              <a:gd name="connsiteX3" fmla="*/ 11637025 w 11639349"/>
              <a:gd name="connsiteY3" fmla="*/ 560456 h 6209637"/>
              <a:gd name="connsiteX4" fmla="*/ 6348862 w 11639349"/>
              <a:gd name="connsiteY4" fmla="*/ 3083064 h 6209637"/>
              <a:gd name="connsiteX5" fmla="*/ 3373174 w 11639349"/>
              <a:gd name="connsiteY5" fmla="*/ 1366480 h 6209637"/>
              <a:gd name="connsiteX6" fmla="*/ 410086 w 11639349"/>
              <a:gd name="connsiteY6" fmla="*/ 3429057 h 6209637"/>
              <a:gd name="connsiteX7" fmla="*/ 409233 w 11639349"/>
              <a:gd name="connsiteY7" fmla="*/ 5912919 h 6209637"/>
              <a:gd name="connsiteX8" fmla="*/ 677049 w 11639349"/>
              <a:gd name="connsiteY8" fmla="*/ 5911345 h 6209637"/>
              <a:gd name="connsiteX9" fmla="*/ 0 w 11639349"/>
              <a:gd name="connsiteY9" fmla="*/ 6209637 h 6209637"/>
              <a:gd name="connsiteX0" fmla="*/ 0 w 11650218"/>
              <a:gd name="connsiteY0" fmla="*/ 6209637 h 6209637"/>
              <a:gd name="connsiteX1" fmla="*/ 3299 w 11650218"/>
              <a:gd name="connsiteY1" fmla="*/ 0 h 6209637"/>
              <a:gd name="connsiteX2" fmla="*/ 11607494 w 11650218"/>
              <a:gd name="connsiteY2" fmla="*/ 24263 h 6209637"/>
              <a:gd name="connsiteX3" fmla="*/ 11648306 w 11650218"/>
              <a:gd name="connsiteY3" fmla="*/ 2167313 h 6209637"/>
              <a:gd name="connsiteX4" fmla="*/ 6348862 w 11650218"/>
              <a:gd name="connsiteY4" fmla="*/ 3083064 h 6209637"/>
              <a:gd name="connsiteX5" fmla="*/ 3373174 w 11650218"/>
              <a:gd name="connsiteY5" fmla="*/ 1366480 h 6209637"/>
              <a:gd name="connsiteX6" fmla="*/ 410086 w 11650218"/>
              <a:gd name="connsiteY6" fmla="*/ 3429057 h 6209637"/>
              <a:gd name="connsiteX7" fmla="*/ 409233 w 11650218"/>
              <a:gd name="connsiteY7" fmla="*/ 5912919 h 6209637"/>
              <a:gd name="connsiteX8" fmla="*/ 677049 w 11650218"/>
              <a:gd name="connsiteY8" fmla="*/ 5911345 h 6209637"/>
              <a:gd name="connsiteX9" fmla="*/ 0 w 11650218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677049 w 11650217"/>
              <a:gd name="connsiteY8" fmla="*/ 5911345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677049 w 11650217"/>
              <a:gd name="connsiteY8" fmla="*/ 5911345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7375446 w 11650217"/>
              <a:gd name="connsiteY4" fmla="*/ 3663318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7375446 w 11650217"/>
              <a:gd name="connsiteY4" fmla="*/ 3663318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22678 h 6209637"/>
              <a:gd name="connsiteX4" fmla="*/ 7375446 w 11650217"/>
              <a:gd name="connsiteY4" fmla="*/ 3663318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375446 w 11639350"/>
              <a:gd name="connsiteY4" fmla="*/ 3663318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880109 w 11639350"/>
              <a:gd name="connsiteY8" fmla="*/ 5902418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880109 w 11639350"/>
              <a:gd name="connsiteY8" fmla="*/ 5902418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857546 w 11639350"/>
              <a:gd name="connsiteY8" fmla="*/ 5875637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936514 w 11639350"/>
              <a:gd name="connsiteY8" fmla="*/ 5884563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410086 w 11639350"/>
              <a:gd name="connsiteY5" fmla="*/ 3429057 h 6209637"/>
              <a:gd name="connsiteX6" fmla="*/ 409233 w 11639350"/>
              <a:gd name="connsiteY6" fmla="*/ 5912919 h 6209637"/>
              <a:gd name="connsiteX7" fmla="*/ 936514 w 11639350"/>
              <a:gd name="connsiteY7" fmla="*/ 5884563 h 6209637"/>
              <a:gd name="connsiteX8" fmla="*/ 0 w 11639350"/>
              <a:gd name="connsiteY8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409233 w 11639350"/>
              <a:gd name="connsiteY5" fmla="*/ 5912919 h 6209637"/>
              <a:gd name="connsiteX6" fmla="*/ 936514 w 11639350"/>
              <a:gd name="connsiteY6" fmla="*/ 5884563 h 6209637"/>
              <a:gd name="connsiteX7" fmla="*/ 0 w 11639350"/>
              <a:gd name="connsiteY7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936514 w 11639350"/>
              <a:gd name="connsiteY5" fmla="*/ 5884563 h 6209637"/>
              <a:gd name="connsiteX6" fmla="*/ 0 w 11639350"/>
              <a:gd name="connsiteY6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0 w 11639350"/>
              <a:gd name="connsiteY5" fmla="*/ 6209637 h 6209637"/>
              <a:gd name="connsiteX0" fmla="*/ 3899975 w 11636052"/>
              <a:gd name="connsiteY0" fmla="*/ 5772215 h 5772215"/>
              <a:gd name="connsiteX1" fmla="*/ 1 w 11636052"/>
              <a:gd name="connsiteY1" fmla="*/ 0 h 5772215"/>
              <a:gd name="connsiteX2" fmla="*/ 11604196 w 11636052"/>
              <a:gd name="connsiteY2" fmla="*/ 24263 h 5772215"/>
              <a:gd name="connsiteX3" fmla="*/ 11633728 w 11636052"/>
              <a:gd name="connsiteY3" fmla="*/ 2051261 h 5772215"/>
              <a:gd name="connsiteX4" fmla="*/ 7281898 w 11636052"/>
              <a:gd name="connsiteY4" fmla="*/ 3627610 h 5772215"/>
              <a:gd name="connsiteX5" fmla="*/ 3899975 w 11636052"/>
              <a:gd name="connsiteY5" fmla="*/ 5772215 h 5772215"/>
              <a:gd name="connsiteX0" fmla="*/ 2534957 w 10271034"/>
              <a:gd name="connsiteY0" fmla="*/ 5747952 h 5747952"/>
              <a:gd name="connsiteX1" fmla="*/ 1 w 10271034"/>
              <a:gd name="connsiteY1" fmla="*/ 5019482 h 5747952"/>
              <a:gd name="connsiteX2" fmla="*/ 10239178 w 10271034"/>
              <a:gd name="connsiteY2" fmla="*/ 0 h 5747952"/>
              <a:gd name="connsiteX3" fmla="*/ 10268710 w 10271034"/>
              <a:gd name="connsiteY3" fmla="*/ 2026998 h 5747952"/>
              <a:gd name="connsiteX4" fmla="*/ 5916880 w 10271034"/>
              <a:gd name="connsiteY4" fmla="*/ 3603347 h 5747952"/>
              <a:gd name="connsiteX5" fmla="*/ 2534957 w 10271034"/>
              <a:gd name="connsiteY5" fmla="*/ 5747952 h 5747952"/>
              <a:gd name="connsiteX0" fmla="*/ 2534957 w 10268742"/>
              <a:gd name="connsiteY0" fmla="*/ 4301780 h 4301780"/>
              <a:gd name="connsiteX1" fmla="*/ 1 w 10268742"/>
              <a:gd name="connsiteY1" fmla="*/ 3573310 h 4301780"/>
              <a:gd name="connsiteX2" fmla="*/ 6414873 w 10268742"/>
              <a:gd name="connsiteY2" fmla="*/ 0 h 4301780"/>
              <a:gd name="connsiteX3" fmla="*/ 10268710 w 10268742"/>
              <a:gd name="connsiteY3" fmla="*/ 580826 h 4301780"/>
              <a:gd name="connsiteX4" fmla="*/ 5916880 w 10268742"/>
              <a:gd name="connsiteY4" fmla="*/ 2157175 h 4301780"/>
              <a:gd name="connsiteX5" fmla="*/ 2534957 w 10268742"/>
              <a:gd name="connsiteY5" fmla="*/ 4301780 h 4301780"/>
              <a:gd name="connsiteX0" fmla="*/ 2534957 w 10088245"/>
              <a:gd name="connsiteY0" fmla="*/ 4301780 h 4562296"/>
              <a:gd name="connsiteX1" fmla="*/ 1 w 10088245"/>
              <a:gd name="connsiteY1" fmla="*/ 3573310 h 4562296"/>
              <a:gd name="connsiteX2" fmla="*/ 6414873 w 10088245"/>
              <a:gd name="connsiteY2" fmla="*/ 0 h 4562296"/>
              <a:gd name="connsiteX3" fmla="*/ 10088213 w 10088245"/>
              <a:gd name="connsiteY3" fmla="*/ 4562261 h 4562296"/>
              <a:gd name="connsiteX4" fmla="*/ 5916880 w 10088245"/>
              <a:gd name="connsiteY4" fmla="*/ 2157175 h 4562296"/>
              <a:gd name="connsiteX5" fmla="*/ 2534957 w 10088245"/>
              <a:gd name="connsiteY5" fmla="*/ 4301780 h 4562296"/>
              <a:gd name="connsiteX0" fmla="*/ 2534957 w 10088245"/>
              <a:gd name="connsiteY0" fmla="*/ 4301780 h 4853349"/>
              <a:gd name="connsiteX1" fmla="*/ 1 w 10088245"/>
              <a:gd name="connsiteY1" fmla="*/ 3573310 h 4853349"/>
              <a:gd name="connsiteX2" fmla="*/ 6414873 w 10088245"/>
              <a:gd name="connsiteY2" fmla="*/ 0 h 4853349"/>
              <a:gd name="connsiteX3" fmla="*/ 10088213 w 10088245"/>
              <a:gd name="connsiteY3" fmla="*/ 4562261 h 4853349"/>
              <a:gd name="connsiteX4" fmla="*/ 2534957 w 10088245"/>
              <a:gd name="connsiteY4" fmla="*/ 4301780 h 4853349"/>
              <a:gd name="connsiteX0" fmla="*/ 10088212 w 10088244"/>
              <a:gd name="connsiteY0" fmla="*/ 4562261 h 4766245"/>
              <a:gd name="connsiteX1" fmla="*/ 0 w 10088244"/>
              <a:gd name="connsiteY1" fmla="*/ 3573310 h 4766245"/>
              <a:gd name="connsiteX2" fmla="*/ 6414872 w 10088244"/>
              <a:gd name="connsiteY2" fmla="*/ 0 h 4766245"/>
              <a:gd name="connsiteX3" fmla="*/ 10088212 w 10088244"/>
              <a:gd name="connsiteY3" fmla="*/ 4562261 h 4766245"/>
              <a:gd name="connsiteX0" fmla="*/ 10088212 w 10088244"/>
              <a:gd name="connsiteY0" fmla="*/ 4562261 h 4766245"/>
              <a:gd name="connsiteX1" fmla="*/ 0 w 10088244"/>
              <a:gd name="connsiteY1" fmla="*/ 3573310 h 4766245"/>
              <a:gd name="connsiteX2" fmla="*/ 6414872 w 10088244"/>
              <a:gd name="connsiteY2" fmla="*/ 0 h 4766245"/>
              <a:gd name="connsiteX3" fmla="*/ 10088212 w 10088244"/>
              <a:gd name="connsiteY3" fmla="*/ 4562261 h 4766245"/>
              <a:gd name="connsiteX0" fmla="*/ 10088212 w 10088244"/>
              <a:gd name="connsiteY0" fmla="*/ 4562261 h 4696800"/>
              <a:gd name="connsiteX1" fmla="*/ 0 w 10088244"/>
              <a:gd name="connsiteY1" fmla="*/ 3573310 h 4696800"/>
              <a:gd name="connsiteX2" fmla="*/ 6414872 w 10088244"/>
              <a:gd name="connsiteY2" fmla="*/ 0 h 4696800"/>
              <a:gd name="connsiteX3" fmla="*/ 10088212 w 10088244"/>
              <a:gd name="connsiteY3" fmla="*/ 4562261 h 4696800"/>
              <a:gd name="connsiteX0" fmla="*/ 10088212 w 10088244"/>
              <a:gd name="connsiteY0" fmla="*/ 4562261 h 4562291"/>
              <a:gd name="connsiteX1" fmla="*/ 0 w 10088244"/>
              <a:gd name="connsiteY1" fmla="*/ 3573310 h 4562291"/>
              <a:gd name="connsiteX2" fmla="*/ 6414872 w 10088244"/>
              <a:gd name="connsiteY2" fmla="*/ 0 h 4562291"/>
              <a:gd name="connsiteX3" fmla="*/ 10088212 w 10088244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8212" h="4562291">
                <a:moveTo>
                  <a:pt x="10088212" y="4562261"/>
                </a:moveTo>
                <a:cubicBezTo>
                  <a:pt x="10090775" y="4568633"/>
                  <a:pt x="59447" y="3583821"/>
                  <a:pt x="0" y="3573310"/>
                </a:cubicBezTo>
                <a:lnTo>
                  <a:pt x="6414872" y="0"/>
                </a:lnTo>
                <a:cubicBezTo>
                  <a:pt x="6390874" y="9117"/>
                  <a:pt x="10078368" y="4562072"/>
                  <a:pt x="10088212" y="456226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/>
              <a:buNone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/>
              <a:buNone/>
              <a:tabLst/>
              <a:defRPr sz="1600" b="0" i="0" kern="120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2pPr>
            <a:lvl3pPr marL="155448" indent="-15544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tabLst/>
              <a:defRPr sz="1600" b="0" i="0" kern="120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3pPr>
            <a:lvl4pPr marL="310896" indent="-15544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sz="1600" b="0" i="0" kern="120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4pPr>
            <a:lvl5pPr marL="466344" indent="-155448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/>
              <a:buChar char="•"/>
              <a:tabLst/>
              <a:defRPr sz="1600" b="0" i="0" kern="120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5pPr>
            <a:lvl6pPr marL="621792" indent="-155448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/>
              <a:buChar char="•"/>
              <a:tabLst/>
              <a:defRPr sz="1400" b="0" i="0" kern="120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6pPr>
            <a:lvl7pPr marL="95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None/>
              <a:tabLst/>
              <a:defRPr sz="1200" b="0" i="1" kern="1200" spc="0" baseline="0">
                <a:solidFill>
                  <a:schemeClr val="tx1"/>
                </a:solidFill>
                <a:latin typeface="+mn-lt"/>
                <a:ea typeface="Arial Italic" charset="0"/>
                <a:cs typeface="Arial Italic" charset="0"/>
              </a:defRPr>
            </a:lvl7pPr>
            <a:lvl8pPr marL="155448" indent="-15544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Char char="•"/>
              <a:tabLst/>
              <a:defRPr sz="1200" b="0" i="0" kern="120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8pPr>
            <a:lvl9pPr marL="310896" indent="-15544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 sz="1200" b="0" i="0" kern="120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9pPr>
          </a:lstStyle>
          <a:p>
            <a:pPr algn="ctr">
              <a:spcBef>
                <a:spcPts val="600"/>
              </a:spcBef>
            </a:pPr>
            <a:endParaRPr lang="en-US" sz="1600"/>
          </a:p>
        </p:txBody>
      </p:sp>
      <p:sp>
        <p:nvSpPr>
          <p:cNvPr id="10" name="Title 1"/>
          <p:cNvSpPr>
            <a:spLocks noGrp="1"/>
          </p:cNvSpPr>
          <p:nvPr userDrawn="1">
            <p:ph type="ctrTitle"/>
          </p:nvPr>
        </p:nvSpPr>
        <p:spPr>
          <a:xfrm>
            <a:off x="609601" y="2149481"/>
            <a:ext cx="7794595" cy="1040973"/>
          </a:xfrm>
        </p:spPr>
        <p:txBody>
          <a:bodyPr anchor="ctr" anchorCtr="0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609601" y="3345292"/>
            <a:ext cx="6279947" cy="56851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="0" i="0">
                <a:latin typeface="+mj-lt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09601" y="5577492"/>
            <a:ext cx="6279947" cy="309303"/>
          </a:xfrm>
        </p:spPr>
        <p:txBody>
          <a:bodyPr>
            <a:noAutofit/>
          </a:bodyPr>
          <a:lstStyle>
            <a:lvl1pPr>
              <a:defRPr sz="1600" b="0" i="0">
                <a:latin typeface="+mn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305218"/>
            <a:ext cx="1508760" cy="380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2210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151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Option 2 with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7251773" y="1884981"/>
            <a:ext cx="4330628" cy="4517330"/>
          </a:xfrm>
          <a:custGeom>
            <a:avLst/>
            <a:gdLst>
              <a:gd name="connsiteX0" fmla="*/ 4944862 w 4944862"/>
              <a:gd name="connsiteY0" fmla="*/ 0 h 5095782"/>
              <a:gd name="connsiteX1" fmla="*/ 4944862 w 4944862"/>
              <a:gd name="connsiteY1" fmla="*/ 4048217 h 5095782"/>
              <a:gd name="connsiteX2" fmla="*/ 0 w 4944862"/>
              <a:gd name="connsiteY2" fmla="*/ 5095782 h 5095782"/>
              <a:gd name="connsiteX3" fmla="*/ 4944862 w 4944862"/>
              <a:gd name="connsiteY3" fmla="*/ 0 h 5095782"/>
              <a:gd name="connsiteX0" fmla="*/ 0 w 2459115"/>
              <a:gd name="connsiteY0" fmla="*/ 0 h 4048217"/>
              <a:gd name="connsiteX1" fmla="*/ 0 w 2459115"/>
              <a:gd name="connsiteY1" fmla="*/ 4048217 h 4048217"/>
              <a:gd name="connsiteX2" fmla="*/ 2459115 w 2459115"/>
              <a:gd name="connsiteY2" fmla="*/ 2006353 h 4048217"/>
              <a:gd name="connsiteX3" fmla="*/ 0 w 2459115"/>
              <a:gd name="connsiteY3" fmla="*/ 0 h 4048217"/>
              <a:gd name="connsiteX0" fmla="*/ 8877 w 2467992"/>
              <a:gd name="connsiteY0" fmla="*/ 0 h 2547891"/>
              <a:gd name="connsiteX1" fmla="*/ 0 w 2467992"/>
              <a:gd name="connsiteY1" fmla="*/ 2547891 h 2547891"/>
              <a:gd name="connsiteX2" fmla="*/ 2467992 w 2467992"/>
              <a:gd name="connsiteY2" fmla="*/ 2006353 h 2547891"/>
              <a:gd name="connsiteX3" fmla="*/ 8877 w 2467992"/>
              <a:gd name="connsiteY3" fmla="*/ 0 h 2547891"/>
              <a:gd name="connsiteX0" fmla="*/ 0 w 2459115"/>
              <a:gd name="connsiteY0" fmla="*/ 0 h 3062796"/>
              <a:gd name="connsiteX1" fmla="*/ 8878 w 2459115"/>
              <a:gd name="connsiteY1" fmla="*/ 3062796 h 3062796"/>
              <a:gd name="connsiteX2" fmla="*/ 2459115 w 2459115"/>
              <a:gd name="connsiteY2" fmla="*/ 2006353 h 3062796"/>
              <a:gd name="connsiteX3" fmla="*/ 0 w 2459115"/>
              <a:gd name="connsiteY3" fmla="*/ 0 h 3062796"/>
              <a:gd name="connsiteX0" fmla="*/ 0 w 2476871"/>
              <a:gd name="connsiteY0" fmla="*/ 0 h 3062796"/>
              <a:gd name="connsiteX1" fmla="*/ 8878 w 2476871"/>
              <a:gd name="connsiteY1" fmla="*/ 3062796 h 3062796"/>
              <a:gd name="connsiteX2" fmla="*/ 2476871 w 2476871"/>
              <a:gd name="connsiteY2" fmla="*/ 2024108 h 3062796"/>
              <a:gd name="connsiteX3" fmla="*/ 0 w 2476871"/>
              <a:gd name="connsiteY3" fmla="*/ 0 h 3062796"/>
              <a:gd name="connsiteX0" fmla="*/ 854 w 2477725"/>
              <a:gd name="connsiteY0" fmla="*/ 0 h 3071673"/>
              <a:gd name="connsiteX1" fmla="*/ 854 w 2477725"/>
              <a:gd name="connsiteY1" fmla="*/ 3071673 h 3071673"/>
              <a:gd name="connsiteX2" fmla="*/ 2477725 w 2477725"/>
              <a:gd name="connsiteY2" fmla="*/ 2024108 h 3071673"/>
              <a:gd name="connsiteX3" fmla="*/ 854 w 2477725"/>
              <a:gd name="connsiteY3" fmla="*/ 0 h 3071673"/>
              <a:gd name="connsiteX0" fmla="*/ 754351 w 3231222"/>
              <a:gd name="connsiteY0" fmla="*/ 0 h 4437430"/>
              <a:gd name="connsiteX1" fmla="*/ 8 w 3231222"/>
              <a:gd name="connsiteY1" fmla="*/ 4437430 h 4437430"/>
              <a:gd name="connsiteX2" fmla="*/ 3231222 w 3231222"/>
              <a:gd name="connsiteY2" fmla="*/ 2024108 h 4437430"/>
              <a:gd name="connsiteX3" fmla="*/ 754351 w 3231222"/>
              <a:gd name="connsiteY3" fmla="*/ 0 h 4437430"/>
              <a:gd name="connsiteX0" fmla="*/ 873458 w 3231222"/>
              <a:gd name="connsiteY0" fmla="*/ 0 h 3230482"/>
              <a:gd name="connsiteX1" fmla="*/ 8 w 3231222"/>
              <a:gd name="connsiteY1" fmla="*/ 3230482 h 3230482"/>
              <a:gd name="connsiteX2" fmla="*/ 3231222 w 3231222"/>
              <a:gd name="connsiteY2" fmla="*/ 817160 h 3230482"/>
              <a:gd name="connsiteX3" fmla="*/ 873458 w 3231222"/>
              <a:gd name="connsiteY3" fmla="*/ 0 h 3230482"/>
              <a:gd name="connsiteX0" fmla="*/ 659067 w 3231223"/>
              <a:gd name="connsiteY0" fmla="*/ 0 h 4040408"/>
              <a:gd name="connsiteX1" fmla="*/ 9 w 3231223"/>
              <a:gd name="connsiteY1" fmla="*/ 4040408 h 4040408"/>
              <a:gd name="connsiteX2" fmla="*/ 3231223 w 3231223"/>
              <a:gd name="connsiteY2" fmla="*/ 1627086 h 4040408"/>
              <a:gd name="connsiteX3" fmla="*/ 659067 w 3231223"/>
              <a:gd name="connsiteY3" fmla="*/ 0 h 4040408"/>
              <a:gd name="connsiteX0" fmla="*/ 659067 w 3231223"/>
              <a:gd name="connsiteY0" fmla="*/ 31 h 4040439"/>
              <a:gd name="connsiteX1" fmla="*/ 9 w 3231223"/>
              <a:gd name="connsiteY1" fmla="*/ 4040439 h 4040439"/>
              <a:gd name="connsiteX2" fmla="*/ 3231223 w 3231223"/>
              <a:gd name="connsiteY2" fmla="*/ 1627117 h 4040439"/>
              <a:gd name="connsiteX3" fmla="*/ 659067 w 3231223"/>
              <a:gd name="connsiteY3" fmla="*/ 31 h 4040439"/>
              <a:gd name="connsiteX0" fmla="*/ 659058 w 3231214"/>
              <a:gd name="connsiteY0" fmla="*/ 24 h 4040432"/>
              <a:gd name="connsiteX1" fmla="*/ 0 w 3231214"/>
              <a:gd name="connsiteY1" fmla="*/ 4040432 h 4040432"/>
              <a:gd name="connsiteX2" fmla="*/ 3231214 w 3231214"/>
              <a:gd name="connsiteY2" fmla="*/ 1627110 h 4040432"/>
              <a:gd name="connsiteX3" fmla="*/ 659058 w 3231214"/>
              <a:gd name="connsiteY3" fmla="*/ 24 h 4040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1214" h="4040432">
                <a:moveTo>
                  <a:pt x="659058" y="24"/>
                </a:moveTo>
                <a:cubicBezTo>
                  <a:pt x="669958" y="-11302"/>
                  <a:pt x="4982" y="4035877"/>
                  <a:pt x="0" y="4040432"/>
                </a:cubicBezTo>
                <a:lnTo>
                  <a:pt x="3231214" y="1627110"/>
                </a:lnTo>
                <a:lnTo>
                  <a:pt x="659058" y="2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2118361" y="1884984"/>
            <a:ext cx="9516815" cy="4537089"/>
          </a:xfrm>
          <a:custGeom>
            <a:avLst/>
            <a:gdLst>
              <a:gd name="connsiteX0" fmla="*/ 3 w 2571750"/>
              <a:gd name="connsiteY0" fmla="*/ 982319 h 2571750"/>
              <a:gd name="connsiteX1" fmla="*/ 1285875 w 2571750"/>
              <a:gd name="connsiteY1" fmla="*/ 0 h 2571750"/>
              <a:gd name="connsiteX2" fmla="*/ 2571747 w 2571750"/>
              <a:gd name="connsiteY2" fmla="*/ 982319 h 2571750"/>
              <a:gd name="connsiteX3" fmla="*/ 2080588 w 2571750"/>
              <a:gd name="connsiteY3" fmla="*/ 2571743 h 2571750"/>
              <a:gd name="connsiteX4" fmla="*/ 491162 w 2571750"/>
              <a:gd name="connsiteY4" fmla="*/ 2571743 h 2571750"/>
              <a:gd name="connsiteX5" fmla="*/ 3 w 2571750"/>
              <a:gd name="connsiteY5" fmla="*/ 982319 h 2571750"/>
              <a:gd name="connsiteX0" fmla="*/ 0 w 2571744"/>
              <a:gd name="connsiteY0" fmla="*/ 1791944 h 3381368"/>
              <a:gd name="connsiteX1" fmla="*/ 1800222 w 2571744"/>
              <a:gd name="connsiteY1" fmla="*/ 0 h 3381368"/>
              <a:gd name="connsiteX2" fmla="*/ 2571744 w 2571744"/>
              <a:gd name="connsiteY2" fmla="*/ 1791944 h 3381368"/>
              <a:gd name="connsiteX3" fmla="*/ 2080585 w 2571744"/>
              <a:gd name="connsiteY3" fmla="*/ 3381368 h 3381368"/>
              <a:gd name="connsiteX4" fmla="*/ 491159 w 2571744"/>
              <a:gd name="connsiteY4" fmla="*/ 3381368 h 3381368"/>
              <a:gd name="connsiteX5" fmla="*/ 0 w 2571744"/>
              <a:gd name="connsiteY5" fmla="*/ 1791944 h 3381368"/>
              <a:gd name="connsiteX0" fmla="*/ 0 w 5010144"/>
              <a:gd name="connsiteY0" fmla="*/ 2458694 h 3381368"/>
              <a:gd name="connsiteX1" fmla="*/ 4238622 w 5010144"/>
              <a:gd name="connsiteY1" fmla="*/ 0 h 3381368"/>
              <a:gd name="connsiteX2" fmla="*/ 5010144 w 5010144"/>
              <a:gd name="connsiteY2" fmla="*/ 1791944 h 3381368"/>
              <a:gd name="connsiteX3" fmla="*/ 4518985 w 5010144"/>
              <a:gd name="connsiteY3" fmla="*/ 3381368 h 3381368"/>
              <a:gd name="connsiteX4" fmla="*/ 2929559 w 5010144"/>
              <a:gd name="connsiteY4" fmla="*/ 3381368 h 3381368"/>
              <a:gd name="connsiteX5" fmla="*/ 0 w 5010144"/>
              <a:gd name="connsiteY5" fmla="*/ 2458694 h 3381368"/>
              <a:gd name="connsiteX0" fmla="*/ 0 w 5010144"/>
              <a:gd name="connsiteY0" fmla="*/ 2458694 h 6905618"/>
              <a:gd name="connsiteX1" fmla="*/ 4238622 w 5010144"/>
              <a:gd name="connsiteY1" fmla="*/ 0 h 6905618"/>
              <a:gd name="connsiteX2" fmla="*/ 5010144 w 5010144"/>
              <a:gd name="connsiteY2" fmla="*/ 1791944 h 6905618"/>
              <a:gd name="connsiteX3" fmla="*/ 4518985 w 5010144"/>
              <a:gd name="connsiteY3" fmla="*/ 3381368 h 6905618"/>
              <a:gd name="connsiteX4" fmla="*/ 2872409 w 5010144"/>
              <a:gd name="connsiteY4" fmla="*/ 6905618 h 6905618"/>
              <a:gd name="connsiteX5" fmla="*/ 0 w 5010144"/>
              <a:gd name="connsiteY5" fmla="*/ 2458694 h 6905618"/>
              <a:gd name="connsiteX0" fmla="*/ 0 w 5319085"/>
              <a:gd name="connsiteY0" fmla="*/ 2458694 h 6905618"/>
              <a:gd name="connsiteX1" fmla="*/ 4238622 w 5319085"/>
              <a:gd name="connsiteY1" fmla="*/ 0 h 6905618"/>
              <a:gd name="connsiteX2" fmla="*/ 5010144 w 5319085"/>
              <a:gd name="connsiteY2" fmla="*/ 1791944 h 6905618"/>
              <a:gd name="connsiteX3" fmla="*/ 5319085 w 5319085"/>
              <a:gd name="connsiteY3" fmla="*/ 6867518 h 6905618"/>
              <a:gd name="connsiteX4" fmla="*/ 2872409 w 5319085"/>
              <a:gd name="connsiteY4" fmla="*/ 6905618 h 6905618"/>
              <a:gd name="connsiteX5" fmla="*/ 0 w 5319085"/>
              <a:gd name="connsiteY5" fmla="*/ 2458694 h 6905618"/>
              <a:gd name="connsiteX0" fmla="*/ 0 w 5319085"/>
              <a:gd name="connsiteY0" fmla="*/ 2458694 h 6896093"/>
              <a:gd name="connsiteX1" fmla="*/ 4238622 w 5319085"/>
              <a:gd name="connsiteY1" fmla="*/ 0 h 6896093"/>
              <a:gd name="connsiteX2" fmla="*/ 5010144 w 5319085"/>
              <a:gd name="connsiteY2" fmla="*/ 1791944 h 6896093"/>
              <a:gd name="connsiteX3" fmla="*/ 5319085 w 5319085"/>
              <a:gd name="connsiteY3" fmla="*/ 6867518 h 6896093"/>
              <a:gd name="connsiteX4" fmla="*/ 2862884 w 5319085"/>
              <a:gd name="connsiteY4" fmla="*/ 6896093 h 6896093"/>
              <a:gd name="connsiteX5" fmla="*/ 0 w 5319085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5319085 w 8543919"/>
              <a:gd name="connsiteY3" fmla="*/ 6867518 h 6896093"/>
              <a:gd name="connsiteX4" fmla="*/ 2862884 w 8543919"/>
              <a:gd name="connsiteY4" fmla="*/ 6896093 h 6896093"/>
              <a:gd name="connsiteX5" fmla="*/ 0 w 8543919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105772 w 8543919"/>
              <a:gd name="connsiteY3" fmla="*/ 30575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327425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02910 w 8527744"/>
              <a:gd name="connsiteY4" fmla="*/ 686751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523432 w 8527744"/>
              <a:gd name="connsiteY3" fmla="*/ 5782739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846709 w 8527744"/>
              <a:gd name="connsiteY5" fmla="*/ 689609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935665 w 8527744"/>
              <a:gd name="connsiteY5" fmla="*/ 687348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307659 w 8527744"/>
              <a:gd name="connsiteY5" fmla="*/ 6843336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170183 w 8527744"/>
              <a:gd name="connsiteY5" fmla="*/ 6911167 h 6912738"/>
              <a:gd name="connsiteX6" fmla="*/ 0 w 8527744"/>
              <a:gd name="connsiteY6" fmla="*/ 2353181 h 6912738"/>
              <a:gd name="connsiteX0" fmla="*/ 0 w 8527744"/>
              <a:gd name="connsiteY0" fmla="*/ 2371035 h 6930592"/>
              <a:gd name="connsiteX1" fmla="*/ 3301 w 8527744"/>
              <a:gd name="connsiteY1" fmla="*/ 0 h 6930592"/>
              <a:gd name="connsiteX2" fmla="*/ 8527744 w 8527744"/>
              <a:gd name="connsiteY2" fmla="*/ 2345279 h 6930592"/>
              <a:gd name="connsiteX3" fmla="*/ 8523432 w 8527744"/>
              <a:gd name="connsiteY3" fmla="*/ 5800593 h 6930592"/>
              <a:gd name="connsiteX4" fmla="*/ 5310998 w 8527744"/>
              <a:gd name="connsiteY4" fmla="*/ 6930592 h 6930592"/>
              <a:gd name="connsiteX5" fmla="*/ 3170183 w 8527744"/>
              <a:gd name="connsiteY5" fmla="*/ 6929021 h 6930592"/>
              <a:gd name="connsiteX6" fmla="*/ 0 w 8527744"/>
              <a:gd name="connsiteY6" fmla="*/ 2371035 h 6930592"/>
              <a:gd name="connsiteX0" fmla="*/ 0 w 8527744"/>
              <a:gd name="connsiteY0" fmla="*/ 2371035 h 6930592"/>
              <a:gd name="connsiteX1" fmla="*/ 3301 w 8527744"/>
              <a:gd name="connsiteY1" fmla="*/ 0 h 6930592"/>
              <a:gd name="connsiteX2" fmla="*/ 8527744 w 8527744"/>
              <a:gd name="connsiteY2" fmla="*/ 2345279 h 6930592"/>
              <a:gd name="connsiteX3" fmla="*/ 8523432 w 8527744"/>
              <a:gd name="connsiteY3" fmla="*/ 5800593 h 6930592"/>
              <a:gd name="connsiteX4" fmla="*/ 5310998 w 8527744"/>
              <a:gd name="connsiteY4" fmla="*/ 6930592 h 6930592"/>
              <a:gd name="connsiteX5" fmla="*/ 3170183 w 8527744"/>
              <a:gd name="connsiteY5" fmla="*/ 6929021 h 6930592"/>
              <a:gd name="connsiteX6" fmla="*/ 0 w 8527744"/>
              <a:gd name="connsiteY6" fmla="*/ 2371035 h 6930592"/>
              <a:gd name="connsiteX0" fmla="*/ 0 w 11641338"/>
              <a:gd name="connsiteY0" fmla="*/ 2681028 h 7240585"/>
              <a:gd name="connsiteX1" fmla="*/ 3301 w 11641338"/>
              <a:gd name="connsiteY1" fmla="*/ 309993 h 7240585"/>
              <a:gd name="connsiteX2" fmla="*/ 11641338 w 11641338"/>
              <a:gd name="connsiteY2" fmla="*/ 352111 h 7240585"/>
              <a:gd name="connsiteX3" fmla="*/ 8523432 w 11641338"/>
              <a:gd name="connsiteY3" fmla="*/ 6110586 h 7240585"/>
              <a:gd name="connsiteX4" fmla="*/ 5310998 w 11641338"/>
              <a:gd name="connsiteY4" fmla="*/ 7240585 h 7240585"/>
              <a:gd name="connsiteX5" fmla="*/ 3170183 w 11641338"/>
              <a:gd name="connsiteY5" fmla="*/ 7239014 h 7240585"/>
              <a:gd name="connsiteX6" fmla="*/ 0 w 11641338"/>
              <a:gd name="connsiteY6" fmla="*/ 2681028 h 7240585"/>
              <a:gd name="connsiteX0" fmla="*/ 0 w 11641338"/>
              <a:gd name="connsiteY0" fmla="*/ 2371035 h 6930592"/>
              <a:gd name="connsiteX1" fmla="*/ 3301 w 11641338"/>
              <a:gd name="connsiteY1" fmla="*/ 0 h 6930592"/>
              <a:gd name="connsiteX2" fmla="*/ 11641338 w 11641338"/>
              <a:gd name="connsiteY2" fmla="*/ 42118 h 6930592"/>
              <a:gd name="connsiteX3" fmla="*/ 8523432 w 11641338"/>
              <a:gd name="connsiteY3" fmla="*/ 5800593 h 6930592"/>
              <a:gd name="connsiteX4" fmla="*/ 5310998 w 11641338"/>
              <a:gd name="connsiteY4" fmla="*/ 6930592 h 6930592"/>
              <a:gd name="connsiteX5" fmla="*/ 3170183 w 11641338"/>
              <a:gd name="connsiteY5" fmla="*/ 6929021 h 6930592"/>
              <a:gd name="connsiteX6" fmla="*/ 0 w 11641338"/>
              <a:gd name="connsiteY6" fmla="*/ 2371035 h 6930592"/>
              <a:gd name="connsiteX0" fmla="*/ 0 w 11641338"/>
              <a:gd name="connsiteY0" fmla="*/ 2371035 h 6930592"/>
              <a:gd name="connsiteX1" fmla="*/ 3301 w 11641338"/>
              <a:gd name="connsiteY1" fmla="*/ 0 h 6930592"/>
              <a:gd name="connsiteX2" fmla="*/ 11641338 w 11641338"/>
              <a:gd name="connsiteY2" fmla="*/ 42118 h 6930592"/>
              <a:gd name="connsiteX3" fmla="*/ 11591901 w 11641338"/>
              <a:gd name="connsiteY3" fmla="*/ 578309 h 6930592"/>
              <a:gd name="connsiteX4" fmla="*/ 5310998 w 11641338"/>
              <a:gd name="connsiteY4" fmla="*/ 6930592 h 6930592"/>
              <a:gd name="connsiteX5" fmla="*/ 3170183 w 11641338"/>
              <a:gd name="connsiteY5" fmla="*/ 6929021 h 6930592"/>
              <a:gd name="connsiteX6" fmla="*/ 0 w 11641338"/>
              <a:gd name="connsiteY6" fmla="*/ 2371035 h 6930592"/>
              <a:gd name="connsiteX0" fmla="*/ 0 w 11641338"/>
              <a:gd name="connsiteY0" fmla="*/ 2371035 h 6930592"/>
              <a:gd name="connsiteX1" fmla="*/ 3301 w 11641338"/>
              <a:gd name="connsiteY1" fmla="*/ 0 h 6930592"/>
              <a:gd name="connsiteX2" fmla="*/ 11641338 w 11641338"/>
              <a:gd name="connsiteY2" fmla="*/ 42118 h 6930592"/>
              <a:gd name="connsiteX3" fmla="*/ 11591901 w 11641338"/>
              <a:gd name="connsiteY3" fmla="*/ 578309 h 6930592"/>
              <a:gd name="connsiteX4" fmla="*/ 5310998 w 11641338"/>
              <a:gd name="connsiteY4" fmla="*/ 6930592 h 6930592"/>
              <a:gd name="connsiteX5" fmla="*/ 3170183 w 11641338"/>
              <a:gd name="connsiteY5" fmla="*/ 6929021 h 6930592"/>
              <a:gd name="connsiteX6" fmla="*/ 0 w 11641338"/>
              <a:gd name="connsiteY6" fmla="*/ 2371035 h 6930592"/>
              <a:gd name="connsiteX0" fmla="*/ 0 w 11672043"/>
              <a:gd name="connsiteY0" fmla="*/ 2371035 h 6930592"/>
              <a:gd name="connsiteX1" fmla="*/ 3301 w 11672043"/>
              <a:gd name="connsiteY1" fmla="*/ 0 h 6930592"/>
              <a:gd name="connsiteX2" fmla="*/ 11641338 w 11672043"/>
              <a:gd name="connsiteY2" fmla="*/ 42118 h 6930592"/>
              <a:gd name="connsiteX3" fmla="*/ 11648308 w 11672043"/>
              <a:gd name="connsiteY3" fmla="*/ 569383 h 6930592"/>
              <a:gd name="connsiteX4" fmla="*/ 5310998 w 11672043"/>
              <a:gd name="connsiteY4" fmla="*/ 6930592 h 6930592"/>
              <a:gd name="connsiteX5" fmla="*/ 3170183 w 11672043"/>
              <a:gd name="connsiteY5" fmla="*/ 6929021 h 6930592"/>
              <a:gd name="connsiteX6" fmla="*/ 0 w 11672043"/>
              <a:gd name="connsiteY6" fmla="*/ 2371035 h 6930592"/>
              <a:gd name="connsiteX0" fmla="*/ 0 w 11652399"/>
              <a:gd name="connsiteY0" fmla="*/ 2371035 h 6930592"/>
              <a:gd name="connsiteX1" fmla="*/ 3301 w 11652399"/>
              <a:gd name="connsiteY1" fmla="*/ 0 h 6930592"/>
              <a:gd name="connsiteX2" fmla="*/ 11641338 w 11652399"/>
              <a:gd name="connsiteY2" fmla="*/ 42118 h 6930592"/>
              <a:gd name="connsiteX3" fmla="*/ 11648308 w 11652399"/>
              <a:gd name="connsiteY3" fmla="*/ 569383 h 6930592"/>
              <a:gd name="connsiteX4" fmla="*/ 5310998 w 11652399"/>
              <a:gd name="connsiteY4" fmla="*/ 6930592 h 6930592"/>
              <a:gd name="connsiteX5" fmla="*/ 3170183 w 11652399"/>
              <a:gd name="connsiteY5" fmla="*/ 6929021 h 6930592"/>
              <a:gd name="connsiteX6" fmla="*/ 0 w 11652399"/>
              <a:gd name="connsiteY6" fmla="*/ 2371035 h 6930592"/>
              <a:gd name="connsiteX0" fmla="*/ 41845 w 11649119"/>
              <a:gd name="connsiteY0" fmla="*/ 6218565 h 6930592"/>
              <a:gd name="connsiteX1" fmla="*/ 21 w 11649119"/>
              <a:gd name="connsiteY1" fmla="*/ 0 h 6930592"/>
              <a:gd name="connsiteX2" fmla="*/ 11638058 w 11649119"/>
              <a:gd name="connsiteY2" fmla="*/ 42118 h 6930592"/>
              <a:gd name="connsiteX3" fmla="*/ 11645028 w 11649119"/>
              <a:gd name="connsiteY3" fmla="*/ 569383 h 6930592"/>
              <a:gd name="connsiteX4" fmla="*/ 5307718 w 11649119"/>
              <a:gd name="connsiteY4" fmla="*/ 6930592 h 6930592"/>
              <a:gd name="connsiteX5" fmla="*/ 3166903 w 11649119"/>
              <a:gd name="connsiteY5" fmla="*/ 6929021 h 6930592"/>
              <a:gd name="connsiteX6" fmla="*/ 41845 w 11649119"/>
              <a:gd name="connsiteY6" fmla="*/ 6218565 h 6930592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187647 w 11649119"/>
              <a:gd name="connsiteY4" fmla="*/ 3654390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187647 w 11649119"/>
              <a:gd name="connsiteY4" fmla="*/ 3654390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5883056 w 11649119"/>
              <a:gd name="connsiteY4" fmla="*/ 2842035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435832 w 11649119"/>
              <a:gd name="connsiteY4" fmla="*/ 3074136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435832 w 11649119"/>
              <a:gd name="connsiteY4" fmla="*/ 3074136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2230568 w 11649119"/>
              <a:gd name="connsiteY5" fmla="*/ 2956514 h 6218565"/>
              <a:gd name="connsiteX6" fmla="*/ 41845 w 11649119"/>
              <a:gd name="connsiteY6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685052 w 11649119"/>
              <a:gd name="connsiteY5" fmla="*/ 5920272 h 6218565"/>
              <a:gd name="connsiteX6" fmla="*/ 41845 w 11649119"/>
              <a:gd name="connsiteY6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910610 w 11649119"/>
              <a:gd name="connsiteY5" fmla="*/ 5785337 h 6218565"/>
              <a:gd name="connsiteX6" fmla="*/ 685052 w 11649119"/>
              <a:gd name="connsiteY6" fmla="*/ 5920272 h 6218565"/>
              <a:gd name="connsiteX7" fmla="*/ 41845 w 11649119"/>
              <a:gd name="connsiteY7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414240 w 11649119"/>
              <a:gd name="connsiteY5" fmla="*/ 5544308 h 6218565"/>
              <a:gd name="connsiteX6" fmla="*/ 685052 w 11649119"/>
              <a:gd name="connsiteY6" fmla="*/ 5920272 h 6218565"/>
              <a:gd name="connsiteX7" fmla="*/ 41845 w 11649119"/>
              <a:gd name="connsiteY7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2038724 w 11649119"/>
              <a:gd name="connsiteY5" fmla="*/ 4856930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1350574 w 11649119"/>
              <a:gd name="connsiteY5" fmla="*/ 1866392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054026 w 11649119"/>
              <a:gd name="connsiteY5" fmla="*/ 1179014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674488 w 11649119"/>
              <a:gd name="connsiteY5" fmla="*/ 857643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8119 w 11649119"/>
              <a:gd name="connsiteY6" fmla="*/ 4580194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75806 w 11649119"/>
              <a:gd name="connsiteY6" fmla="*/ 3089389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402958 w 11649119"/>
              <a:gd name="connsiteY6" fmla="*/ 3464323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651143 w 11649119"/>
              <a:gd name="connsiteY7" fmla="*/ 5615724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527050 w 11649119"/>
              <a:gd name="connsiteY7" fmla="*/ 584782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290146 w 11649119"/>
              <a:gd name="connsiteY7" fmla="*/ 5883534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365795 w 11649119"/>
              <a:gd name="connsiteY7" fmla="*/ 59649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66480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81177 w 11649119"/>
              <a:gd name="connsiteY5" fmla="*/ 1375407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56865 w 11649119"/>
              <a:gd name="connsiteY4" fmla="*/ 3091991 h 6218565"/>
              <a:gd name="connsiteX5" fmla="*/ 3381177 w 11649119"/>
              <a:gd name="connsiteY5" fmla="*/ 1375407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19302 w 11649138"/>
              <a:gd name="connsiteY0" fmla="*/ 6209638 h 6209638"/>
              <a:gd name="connsiteX1" fmla="*/ 40 w 11649138"/>
              <a:gd name="connsiteY1" fmla="*/ 0 h 6209638"/>
              <a:gd name="connsiteX2" fmla="*/ 11638077 w 11649138"/>
              <a:gd name="connsiteY2" fmla="*/ 42118 h 6209638"/>
              <a:gd name="connsiteX3" fmla="*/ 11645047 w 11649138"/>
              <a:gd name="connsiteY3" fmla="*/ 569383 h 6209638"/>
              <a:gd name="connsiteX4" fmla="*/ 6356884 w 11649138"/>
              <a:gd name="connsiteY4" fmla="*/ 3091991 h 6209638"/>
              <a:gd name="connsiteX5" fmla="*/ 3381196 w 11649138"/>
              <a:gd name="connsiteY5" fmla="*/ 1375407 h 6209638"/>
              <a:gd name="connsiteX6" fmla="*/ 418108 w 11649138"/>
              <a:gd name="connsiteY6" fmla="*/ 3437984 h 6209638"/>
              <a:gd name="connsiteX7" fmla="*/ 417255 w 11649138"/>
              <a:gd name="connsiteY7" fmla="*/ 5921846 h 6209638"/>
              <a:gd name="connsiteX8" fmla="*/ 685071 w 11649138"/>
              <a:gd name="connsiteY8" fmla="*/ 5920272 h 6209638"/>
              <a:gd name="connsiteX9" fmla="*/ 19302 w 11649138"/>
              <a:gd name="connsiteY9" fmla="*/ 6209638 h 6209638"/>
              <a:gd name="connsiteX0" fmla="*/ 8065 w 11649181"/>
              <a:gd name="connsiteY0" fmla="*/ 6218564 h 6218564"/>
              <a:gd name="connsiteX1" fmla="*/ 83 w 11649181"/>
              <a:gd name="connsiteY1" fmla="*/ 0 h 6218564"/>
              <a:gd name="connsiteX2" fmla="*/ 11638120 w 11649181"/>
              <a:gd name="connsiteY2" fmla="*/ 42118 h 6218564"/>
              <a:gd name="connsiteX3" fmla="*/ 11645090 w 11649181"/>
              <a:gd name="connsiteY3" fmla="*/ 569383 h 6218564"/>
              <a:gd name="connsiteX4" fmla="*/ 6356927 w 11649181"/>
              <a:gd name="connsiteY4" fmla="*/ 3091991 h 6218564"/>
              <a:gd name="connsiteX5" fmla="*/ 3381239 w 11649181"/>
              <a:gd name="connsiteY5" fmla="*/ 1375407 h 6218564"/>
              <a:gd name="connsiteX6" fmla="*/ 418151 w 11649181"/>
              <a:gd name="connsiteY6" fmla="*/ 3437984 h 6218564"/>
              <a:gd name="connsiteX7" fmla="*/ 417298 w 11649181"/>
              <a:gd name="connsiteY7" fmla="*/ 5921846 h 6218564"/>
              <a:gd name="connsiteX8" fmla="*/ 685114 w 11649181"/>
              <a:gd name="connsiteY8" fmla="*/ 5920272 h 6218564"/>
              <a:gd name="connsiteX9" fmla="*/ 8065 w 11649181"/>
              <a:gd name="connsiteY9" fmla="*/ 6218564 h 6218564"/>
              <a:gd name="connsiteX0" fmla="*/ 8065 w 11649181"/>
              <a:gd name="connsiteY0" fmla="*/ 6218564 h 6218564"/>
              <a:gd name="connsiteX1" fmla="*/ 83 w 11649181"/>
              <a:gd name="connsiteY1" fmla="*/ 0 h 6218564"/>
              <a:gd name="connsiteX2" fmla="*/ 11638120 w 11649181"/>
              <a:gd name="connsiteY2" fmla="*/ 42118 h 6218564"/>
              <a:gd name="connsiteX3" fmla="*/ 11645090 w 11649181"/>
              <a:gd name="connsiteY3" fmla="*/ 569383 h 6218564"/>
              <a:gd name="connsiteX4" fmla="*/ 6356927 w 11649181"/>
              <a:gd name="connsiteY4" fmla="*/ 3091991 h 6218564"/>
              <a:gd name="connsiteX5" fmla="*/ 3381239 w 11649181"/>
              <a:gd name="connsiteY5" fmla="*/ 1375407 h 6218564"/>
              <a:gd name="connsiteX6" fmla="*/ 418151 w 11649181"/>
              <a:gd name="connsiteY6" fmla="*/ 3437984 h 6218564"/>
              <a:gd name="connsiteX7" fmla="*/ 417298 w 11649181"/>
              <a:gd name="connsiteY7" fmla="*/ 5921846 h 6218564"/>
              <a:gd name="connsiteX8" fmla="*/ 685114 w 11649181"/>
              <a:gd name="connsiteY8" fmla="*/ 5920272 h 6218564"/>
              <a:gd name="connsiteX9" fmla="*/ 8065 w 11649181"/>
              <a:gd name="connsiteY9" fmla="*/ 6218564 h 6218564"/>
              <a:gd name="connsiteX0" fmla="*/ 8065 w 11647413"/>
              <a:gd name="connsiteY0" fmla="*/ 6218564 h 6218564"/>
              <a:gd name="connsiteX1" fmla="*/ 83 w 11647413"/>
              <a:gd name="connsiteY1" fmla="*/ 0 h 6218564"/>
              <a:gd name="connsiteX2" fmla="*/ 11615559 w 11647413"/>
              <a:gd name="connsiteY2" fmla="*/ 33190 h 6218564"/>
              <a:gd name="connsiteX3" fmla="*/ 11645090 w 11647413"/>
              <a:gd name="connsiteY3" fmla="*/ 569383 h 6218564"/>
              <a:gd name="connsiteX4" fmla="*/ 6356927 w 11647413"/>
              <a:gd name="connsiteY4" fmla="*/ 3091991 h 6218564"/>
              <a:gd name="connsiteX5" fmla="*/ 3381239 w 11647413"/>
              <a:gd name="connsiteY5" fmla="*/ 1375407 h 6218564"/>
              <a:gd name="connsiteX6" fmla="*/ 418151 w 11647413"/>
              <a:gd name="connsiteY6" fmla="*/ 3437984 h 6218564"/>
              <a:gd name="connsiteX7" fmla="*/ 417298 w 11647413"/>
              <a:gd name="connsiteY7" fmla="*/ 5921846 h 6218564"/>
              <a:gd name="connsiteX8" fmla="*/ 685114 w 11647413"/>
              <a:gd name="connsiteY8" fmla="*/ 5920272 h 6218564"/>
              <a:gd name="connsiteX9" fmla="*/ 8065 w 11647413"/>
              <a:gd name="connsiteY9" fmla="*/ 6218564 h 6218564"/>
              <a:gd name="connsiteX0" fmla="*/ 0 w 11639349"/>
              <a:gd name="connsiteY0" fmla="*/ 6209637 h 6209637"/>
              <a:gd name="connsiteX1" fmla="*/ 3299 w 11639349"/>
              <a:gd name="connsiteY1" fmla="*/ 0 h 6209637"/>
              <a:gd name="connsiteX2" fmla="*/ 11607494 w 11639349"/>
              <a:gd name="connsiteY2" fmla="*/ 24263 h 6209637"/>
              <a:gd name="connsiteX3" fmla="*/ 11637025 w 11639349"/>
              <a:gd name="connsiteY3" fmla="*/ 560456 h 6209637"/>
              <a:gd name="connsiteX4" fmla="*/ 6348862 w 11639349"/>
              <a:gd name="connsiteY4" fmla="*/ 3083064 h 6209637"/>
              <a:gd name="connsiteX5" fmla="*/ 3373174 w 11639349"/>
              <a:gd name="connsiteY5" fmla="*/ 1366480 h 6209637"/>
              <a:gd name="connsiteX6" fmla="*/ 410086 w 11639349"/>
              <a:gd name="connsiteY6" fmla="*/ 3429057 h 6209637"/>
              <a:gd name="connsiteX7" fmla="*/ 409233 w 11639349"/>
              <a:gd name="connsiteY7" fmla="*/ 5912919 h 6209637"/>
              <a:gd name="connsiteX8" fmla="*/ 677049 w 11639349"/>
              <a:gd name="connsiteY8" fmla="*/ 5911345 h 6209637"/>
              <a:gd name="connsiteX9" fmla="*/ 0 w 11639349"/>
              <a:gd name="connsiteY9" fmla="*/ 6209637 h 6209637"/>
              <a:gd name="connsiteX0" fmla="*/ 0 w 11650218"/>
              <a:gd name="connsiteY0" fmla="*/ 6209637 h 6209637"/>
              <a:gd name="connsiteX1" fmla="*/ 3299 w 11650218"/>
              <a:gd name="connsiteY1" fmla="*/ 0 h 6209637"/>
              <a:gd name="connsiteX2" fmla="*/ 11607494 w 11650218"/>
              <a:gd name="connsiteY2" fmla="*/ 24263 h 6209637"/>
              <a:gd name="connsiteX3" fmla="*/ 11648306 w 11650218"/>
              <a:gd name="connsiteY3" fmla="*/ 2167313 h 6209637"/>
              <a:gd name="connsiteX4" fmla="*/ 6348862 w 11650218"/>
              <a:gd name="connsiteY4" fmla="*/ 3083064 h 6209637"/>
              <a:gd name="connsiteX5" fmla="*/ 3373174 w 11650218"/>
              <a:gd name="connsiteY5" fmla="*/ 1366480 h 6209637"/>
              <a:gd name="connsiteX6" fmla="*/ 410086 w 11650218"/>
              <a:gd name="connsiteY6" fmla="*/ 3429057 h 6209637"/>
              <a:gd name="connsiteX7" fmla="*/ 409233 w 11650218"/>
              <a:gd name="connsiteY7" fmla="*/ 5912919 h 6209637"/>
              <a:gd name="connsiteX8" fmla="*/ 677049 w 11650218"/>
              <a:gd name="connsiteY8" fmla="*/ 5911345 h 6209637"/>
              <a:gd name="connsiteX9" fmla="*/ 0 w 11650218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677049 w 11650217"/>
              <a:gd name="connsiteY8" fmla="*/ 5911345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677049 w 11650217"/>
              <a:gd name="connsiteY8" fmla="*/ 5911345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7375446 w 11650217"/>
              <a:gd name="connsiteY4" fmla="*/ 3663318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7375446 w 11650217"/>
              <a:gd name="connsiteY4" fmla="*/ 3663318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22678 h 6209637"/>
              <a:gd name="connsiteX4" fmla="*/ 7375446 w 11650217"/>
              <a:gd name="connsiteY4" fmla="*/ 3663318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375446 w 11639350"/>
              <a:gd name="connsiteY4" fmla="*/ 3663318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880109 w 11639350"/>
              <a:gd name="connsiteY8" fmla="*/ 5902418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880109 w 11639350"/>
              <a:gd name="connsiteY8" fmla="*/ 5902418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857546 w 11639350"/>
              <a:gd name="connsiteY8" fmla="*/ 5875637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936514 w 11639350"/>
              <a:gd name="connsiteY8" fmla="*/ 5884563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410086 w 11639350"/>
              <a:gd name="connsiteY5" fmla="*/ 3429057 h 6209637"/>
              <a:gd name="connsiteX6" fmla="*/ 409233 w 11639350"/>
              <a:gd name="connsiteY6" fmla="*/ 5912919 h 6209637"/>
              <a:gd name="connsiteX7" fmla="*/ 936514 w 11639350"/>
              <a:gd name="connsiteY7" fmla="*/ 5884563 h 6209637"/>
              <a:gd name="connsiteX8" fmla="*/ 0 w 11639350"/>
              <a:gd name="connsiteY8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409233 w 11639350"/>
              <a:gd name="connsiteY5" fmla="*/ 5912919 h 6209637"/>
              <a:gd name="connsiteX6" fmla="*/ 936514 w 11639350"/>
              <a:gd name="connsiteY6" fmla="*/ 5884563 h 6209637"/>
              <a:gd name="connsiteX7" fmla="*/ 0 w 11639350"/>
              <a:gd name="connsiteY7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936514 w 11639350"/>
              <a:gd name="connsiteY5" fmla="*/ 5884563 h 6209637"/>
              <a:gd name="connsiteX6" fmla="*/ 0 w 11639350"/>
              <a:gd name="connsiteY6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0 w 11639350"/>
              <a:gd name="connsiteY5" fmla="*/ 6209637 h 6209637"/>
              <a:gd name="connsiteX0" fmla="*/ 3899975 w 11636052"/>
              <a:gd name="connsiteY0" fmla="*/ 5772215 h 5772215"/>
              <a:gd name="connsiteX1" fmla="*/ 1 w 11636052"/>
              <a:gd name="connsiteY1" fmla="*/ 0 h 5772215"/>
              <a:gd name="connsiteX2" fmla="*/ 11604196 w 11636052"/>
              <a:gd name="connsiteY2" fmla="*/ 24263 h 5772215"/>
              <a:gd name="connsiteX3" fmla="*/ 11633728 w 11636052"/>
              <a:gd name="connsiteY3" fmla="*/ 2051261 h 5772215"/>
              <a:gd name="connsiteX4" fmla="*/ 7281898 w 11636052"/>
              <a:gd name="connsiteY4" fmla="*/ 3627610 h 5772215"/>
              <a:gd name="connsiteX5" fmla="*/ 3899975 w 11636052"/>
              <a:gd name="connsiteY5" fmla="*/ 5772215 h 5772215"/>
              <a:gd name="connsiteX0" fmla="*/ 2534957 w 10271034"/>
              <a:gd name="connsiteY0" fmla="*/ 5747952 h 5747952"/>
              <a:gd name="connsiteX1" fmla="*/ 1 w 10271034"/>
              <a:gd name="connsiteY1" fmla="*/ 5019482 h 5747952"/>
              <a:gd name="connsiteX2" fmla="*/ 10239178 w 10271034"/>
              <a:gd name="connsiteY2" fmla="*/ 0 h 5747952"/>
              <a:gd name="connsiteX3" fmla="*/ 10268710 w 10271034"/>
              <a:gd name="connsiteY3" fmla="*/ 2026998 h 5747952"/>
              <a:gd name="connsiteX4" fmla="*/ 5916880 w 10271034"/>
              <a:gd name="connsiteY4" fmla="*/ 3603347 h 5747952"/>
              <a:gd name="connsiteX5" fmla="*/ 2534957 w 10271034"/>
              <a:gd name="connsiteY5" fmla="*/ 5747952 h 5747952"/>
              <a:gd name="connsiteX0" fmla="*/ 2534957 w 10268742"/>
              <a:gd name="connsiteY0" fmla="*/ 4301780 h 4301780"/>
              <a:gd name="connsiteX1" fmla="*/ 1 w 10268742"/>
              <a:gd name="connsiteY1" fmla="*/ 3573310 h 4301780"/>
              <a:gd name="connsiteX2" fmla="*/ 6414873 w 10268742"/>
              <a:gd name="connsiteY2" fmla="*/ 0 h 4301780"/>
              <a:gd name="connsiteX3" fmla="*/ 10268710 w 10268742"/>
              <a:gd name="connsiteY3" fmla="*/ 580826 h 4301780"/>
              <a:gd name="connsiteX4" fmla="*/ 5916880 w 10268742"/>
              <a:gd name="connsiteY4" fmla="*/ 2157175 h 4301780"/>
              <a:gd name="connsiteX5" fmla="*/ 2534957 w 10268742"/>
              <a:gd name="connsiteY5" fmla="*/ 4301780 h 4301780"/>
              <a:gd name="connsiteX0" fmla="*/ 2534957 w 10088245"/>
              <a:gd name="connsiteY0" fmla="*/ 4301780 h 4562296"/>
              <a:gd name="connsiteX1" fmla="*/ 1 w 10088245"/>
              <a:gd name="connsiteY1" fmla="*/ 3573310 h 4562296"/>
              <a:gd name="connsiteX2" fmla="*/ 6414873 w 10088245"/>
              <a:gd name="connsiteY2" fmla="*/ 0 h 4562296"/>
              <a:gd name="connsiteX3" fmla="*/ 10088213 w 10088245"/>
              <a:gd name="connsiteY3" fmla="*/ 4562261 h 4562296"/>
              <a:gd name="connsiteX4" fmla="*/ 5916880 w 10088245"/>
              <a:gd name="connsiteY4" fmla="*/ 2157175 h 4562296"/>
              <a:gd name="connsiteX5" fmla="*/ 2534957 w 10088245"/>
              <a:gd name="connsiteY5" fmla="*/ 4301780 h 4562296"/>
              <a:gd name="connsiteX0" fmla="*/ 2534957 w 10088245"/>
              <a:gd name="connsiteY0" fmla="*/ 4301780 h 4853349"/>
              <a:gd name="connsiteX1" fmla="*/ 1 w 10088245"/>
              <a:gd name="connsiteY1" fmla="*/ 3573310 h 4853349"/>
              <a:gd name="connsiteX2" fmla="*/ 6414873 w 10088245"/>
              <a:gd name="connsiteY2" fmla="*/ 0 h 4853349"/>
              <a:gd name="connsiteX3" fmla="*/ 10088213 w 10088245"/>
              <a:gd name="connsiteY3" fmla="*/ 4562261 h 4853349"/>
              <a:gd name="connsiteX4" fmla="*/ 2534957 w 10088245"/>
              <a:gd name="connsiteY4" fmla="*/ 4301780 h 4853349"/>
              <a:gd name="connsiteX0" fmla="*/ 10088212 w 10088244"/>
              <a:gd name="connsiteY0" fmla="*/ 4562261 h 4766245"/>
              <a:gd name="connsiteX1" fmla="*/ 0 w 10088244"/>
              <a:gd name="connsiteY1" fmla="*/ 3573310 h 4766245"/>
              <a:gd name="connsiteX2" fmla="*/ 6414872 w 10088244"/>
              <a:gd name="connsiteY2" fmla="*/ 0 h 4766245"/>
              <a:gd name="connsiteX3" fmla="*/ 10088212 w 10088244"/>
              <a:gd name="connsiteY3" fmla="*/ 4562261 h 4766245"/>
              <a:gd name="connsiteX0" fmla="*/ 10088212 w 10088244"/>
              <a:gd name="connsiteY0" fmla="*/ 4562261 h 4766245"/>
              <a:gd name="connsiteX1" fmla="*/ 0 w 10088244"/>
              <a:gd name="connsiteY1" fmla="*/ 3573310 h 4766245"/>
              <a:gd name="connsiteX2" fmla="*/ 6414872 w 10088244"/>
              <a:gd name="connsiteY2" fmla="*/ 0 h 4766245"/>
              <a:gd name="connsiteX3" fmla="*/ 10088212 w 10088244"/>
              <a:gd name="connsiteY3" fmla="*/ 4562261 h 4766245"/>
              <a:gd name="connsiteX0" fmla="*/ 10088212 w 10088244"/>
              <a:gd name="connsiteY0" fmla="*/ 4562261 h 4696800"/>
              <a:gd name="connsiteX1" fmla="*/ 0 w 10088244"/>
              <a:gd name="connsiteY1" fmla="*/ 3573310 h 4696800"/>
              <a:gd name="connsiteX2" fmla="*/ 6414872 w 10088244"/>
              <a:gd name="connsiteY2" fmla="*/ 0 h 4696800"/>
              <a:gd name="connsiteX3" fmla="*/ 10088212 w 10088244"/>
              <a:gd name="connsiteY3" fmla="*/ 4562261 h 4696800"/>
              <a:gd name="connsiteX0" fmla="*/ 10088212 w 10088244"/>
              <a:gd name="connsiteY0" fmla="*/ 4562261 h 4562291"/>
              <a:gd name="connsiteX1" fmla="*/ 0 w 10088244"/>
              <a:gd name="connsiteY1" fmla="*/ 3573310 h 4562291"/>
              <a:gd name="connsiteX2" fmla="*/ 6414872 w 10088244"/>
              <a:gd name="connsiteY2" fmla="*/ 0 h 4562291"/>
              <a:gd name="connsiteX3" fmla="*/ 10088212 w 10088244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88212" h="4562291">
                <a:moveTo>
                  <a:pt x="10088212" y="4562261"/>
                </a:moveTo>
                <a:cubicBezTo>
                  <a:pt x="10090775" y="4568633"/>
                  <a:pt x="59447" y="3583821"/>
                  <a:pt x="0" y="3573310"/>
                </a:cubicBezTo>
                <a:lnTo>
                  <a:pt x="6414872" y="0"/>
                </a:lnTo>
                <a:cubicBezTo>
                  <a:pt x="6390874" y="9117"/>
                  <a:pt x="10078368" y="4562072"/>
                  <a:pt x="10088212" y="4562261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l">
              <a:defRPr lang="en-US" b="0" dirty="0">
                <a:solidFill>
                  <a:schemeClr val="bg2"/>
                </a:solidFill>
                <a:ea typeface="Arial Regular" charset="0"/>
                <a:cs typeface="Arial Regular" charset="0"/>
              </a:defRPr>
            </a:lvl1pPr>
          </a:lstStyle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r>
              <a:rPr lang="en-US"/>
              <a:t> </a:t>
            </a:r>
          </a:p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endParaRPr lang="en-US"/>
          </a:p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r>
              <a:rPr lang="en-US"/>
              <a:t>To insert picture, drag to placeholder</a:t>
            </a:r>
            <a:br>
              <a:rPr lang="en-US"/>
            </a:br>
            <a:r>
              <a:rPr lang="en-US"/>
              <a:t>or click icon to add.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09601" y="1749961"/>
            <a:ext cx="7794595" cy="1040973"/>
          </a:xfrm>
        </p:spPr>
        <p:txBody>
          <a:bodyPr anchor="b" anchorCtr="0">
            <a:noAutofit/>
          </a:bodyPr>
          <a:lstStyle>
            <a:lvl1pPr algn="l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09601" y="3061033"/>
            <a:ext cx="6279947" cy="56851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5862900"/>
            <a:ext cx="6279947" cy="309303"/>
          </a:xfrm>
        </p:spPr>
        <p:txBody>
          <a:bodyPr>
            <a:noAutofit/>
          </a:bodyPr>
          <a:lstStyle>
            <a:lvl1pPr>
              <a:defRPr sz="1600" b="0" i="0">
                <a:latin typeface="+mn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305218"/>
            <a:ext cx="1508760" cy="380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70203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15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Option 3 with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>
          <a:xfrm>
            <a:off x="2780145" y="1351957"/>
            <a:ext cx="7460383" cy="4757672"/>
          </a:xfrm>
          <a:custGeom>
            <a:avLst/>
            <a:gdLst>
              <a:gd name="connsiteX0" fmla="*/ 4944862 w 4944862"/>
              <a:gd name="connsiteY0" fmla="*/ 0 h 5095782"/>
              <a:gd name="connsiteX1" fmla="*/ 4944862 w 4944862"/>
              <a:gd name="connsiteY1" fmla="*/ 4048217 h 5095782"/>
              <a:gd name="connsiteX2" fmla="*/ 0 w 4944862"/>
              <a:gd name="connsiteY2" fmla="*/ 5095782 h 5095782"/>
              <a:gd name="connsiteX3" fmla="*/ 4944862 w 4944862"/>
              <a:gd name="connsiteY3" fmla="*/ 0 h 5095782"/>
              <a:gd name="connsiteX0" fmla="*/ 0 w 2459115"/>
              <a:gd name="connsiteY0" fmla="*/ 0 h 4048217"/>
              <a:gd name="connsiteX1" fmla="*/ 0 w 2459115"/>
              <a:gd name="connsiteY1" fmla="*/ 4048217 h 4048217"/>
              <a:gd name="connsiteX2" fmla="*/ 2459115 w 2459115"/>
              <a:gd name="connsiteY2" fmla="*/ 2006353 h 4048217"/>
              <a:gd name="connsiteX3" fmla="*/ 0 w 2459115"/>
              <a:gd name="connsiteY3" fmla="*/ 0 h 4048217"/>
              <a:gd name="connsiteX0" fmla="*/ 8877 w 2467992"/>
              <a:gd name="connsiteY0" fmla="*/ 0 h 2547891"/>
              <a:gd name="connsiteX1" fmla="*/ 0 w 2467992"/>
              <a:gd name="connsiteY1" fmla="*/ 2547891 h 2547891"/>
              <a:gd name="connsiteX2" fmla="*/ 2467992 w 2467992"/>
              <a:gd name="connsiteY2" fmla="*/ 2006353 h 2547891"/>
              <a:gd name="connsiteX3" fmla="*/ 8877 w 2467992"/>
              <a:gd name="connsiteY3" fmla="*/ 0 h 2547891"/>
              <a:gd name="connsiteX0" fmla="*/ 0 w 2459115"/>
              <a:gd name="connsiteY0" fmla="*/ 0 h 3062796"/>
              <a:gd name="connsiteX1" fmla="*/ 8878 w 2459115"/>
              <a:gd name="connsiteY1" fmla="*/ 3062796 h 3062796"/>
              <a:gd name="connsiteX2" fmla="*/ 2459115 w 2459115"/>
              <a:gd name="connsiteY2" fmla="*/ 2006353 h 3062796"/>
              <a:gd name="connsiteX3" fmla="*/ 0 w 2459115"/>
              <a:gd name="connsiteY3" fmla="*/ 0 h 3062796"/>
              <a:gd name="connsiteX0" fmla="*/ 0 w 2476871"/>
              <a:gd name="connsiteY0" fmla="*/ 0 h 3062796"/>
              <a:gd name="connsiteX1" fmla="*/ 8878 w 2476871"/>
              <a:gd name="connsiteY1" fmla="*/ 3062796 h 3062796"/>
              <a:gd name="connsiteX2" fmla="*/ 2476871 w 2476871"/>
              <a:gd name="connsiteY2" fmla="*/ 2024108 h 3062796"/>
              <a:gd name="connsiteX3" fmla="*/ 0 w 2476871"/>
              <a:gd name="connsiteY3" fmla="*/ 0 h 3062796"/>
              <a:gd name="connsiteX0" fmla="*/ 854 w 2477725"/>
              <a:gd name="connsiteY0" fmla="*/ 0 h 3071673"/>
              <a:gd name="connsiteX1" fmla="*/ 854 w 2477725"/>
              <a:gd name="connsiteY1" fmla="*/ 3071673 h 3071673"/>
              <a:gd name="connsiteX2" fmla="*/ 2477725 w 2477725"/>
              <a:gd name="connsiteY2" fmla="*/ 2024108 h 3071673"/>
              <a:gd name="connsiteX3" fmla="*/ 854 w 2477725"/>
              <a:gd name="connsiteY3" fmla="*/ 0 h 3071673"/>
              <a:gd name="connsiteX0" fmla="*/ 754351 w 3231222"/>
              <a:gd name="connsiteY0" fmla="*/ 0 h 4437430"/>
              <a:gd name="connsiteX1" fmla="*/ 8 w 3231222"/>
              <a:gd name="connsiteY1" fmla="*/ 4437430 h 4437430"/>
              <a:gd name="connsiteX2" fmla="*/ 3231222 w 3231222"/>
              <a:gd name="connsiteY2" fmla="*/ 2024108 h 4437430"/>
              <a:gd name="connsiteX3" fmla="*/ 754351 w 3231222"/>
              <a:gd name="connsiteY3" fmla="*/ 0 h 4437430"/>
              <a:gd name="connsiteX0" fmla="*/ 873458 w 3231222"/>
              <a:gd name="connsiteY0" fmla="*/ 0 h 3230482"/>
              <a:gd name="connsiteX1" fmla="*/ 8 w 3231222"/>
              <a:gd name="connsiteY1" fmla="*/ 3230482 h 3230482"/>
              <a:gd name="connsiteX2" fmla="*/ 3231222 w 3231222"/>
              <a:gd name="connsiteY2" fmla="*/ 817160 h 3230482"/>
              <a:gd name="connsiteX3" fmla="*/ 873458 w 3231222"/>
              <a:gd name="connsiteY3" fmla="*/ 0 h 3230482"/>
              <a:gd name="connsiteX0" fmla="*/ 659067 w 3231223"/>
              <a:gd name="connsiteY0" fmla="*/ 0 h 4040408"/>
              <a:gd name="connsiteX1" fmla="*/ 9 w 3231223"/>
              <a:gd name="connsiteY1" fmla="*/ 4040408 h 4040408"/>
              <a:gd name="connsiteX2" fmla="*/ 3231223 w 3231223"/>
              <a:gd name="connsiteY2" fmla="*/ 1627086 h 4040408"/>
              <a:gd name="connsiteX3" fmla="*/ 659067 w 3231223"/>
              <a:gd name="connsiteY3" fmla="*/ 0 h 4040408"/>
              <a:gd name="connsiteX0" fmla="*/ 659067 w 3231223"/>
              <a:gd name="connsiteY0" fmla="*/ 31 h 4040439"/>
              <a:gd name="connsiteX1" fmla="*/ 9 w 3231223"/>
              <a:gd name="connsiteY1" fmla="*/ 4040439 h 4040439"/>
              <a:gd name="connsiteX2" fmla="*/ 3231223 w 3231223"/>
              <a:gd name="connsiteY2" fmla="*/ 1627117 h 4040439"/>
              <a:gd name="connsiteX3" fmla="*/ 659067 w 3231223"/>
              <a:gd name="connsiteY3" fmla="*/ 31 h 4040439"/>
              <a:gd name="connsiteX0" fmla="*/ 659058 w 3231214"/>
              <a:gd name="connsiteY0" fmla="*/ 24 h 4040432"/>
              <a:gd name="connsiteX1" fmla="*/ 0 w 3231214"/>
              <a:gd name="connsiteY1" fmla="*/ 4040432 h 4040432"/>
              <a:gd name="connsiteX2" fmla="*/ 3231214 w 3231214"/>
              <a:gd name="connsiteY2" fmla="*/ 1627110 h 4040432"/>
              <a:gd name="connsiteX3" fmla="*/ 659058 w 3231214"/>
              <a:gd name="connsiteY3" fmla="*/ 24 h 4040432"/>
              <a:gd name="connsiteX0" fmla="*/ 6320598 w 8892754"/>
              <a:gd name="connsiteY0" fmla="*/ 26 h 3635471"/>
              <a:gd name="connsiteX1" fmla="*/ 0 w 8892754"/>
              <a:gd name="connsiteY1" fmla="*/ 3635471 h 3635471"/>
              <a:gd name="connsiteX2" fmla="*/ 8892754 w 8892754"/>
              <a:gd name="connsiteY2" fmla="*/ 1627112 h 3635471"/>
              <a:gd name="connsiteX3" fmla="*/ 6320598 w 8892754"/>
              <a:gd name="connsiteY3" fmla="*/ 26 h 3635471"/>
              <a:gd name="connsiteX0" fmla="*/ 6320598 w 6320612"/>
              <a:gd name="connsiteY0" fmla="*/ 26 h 4279221"/>
              <a:gd name="connsiteX1" fmla="*/ 0 w 6320612"/>
              <a:gd name="connsiteY1" fmla="*/ 3635471 h 4279221"/>
              <a:gd name="connsiteX2" fmla="*/ 5105160 w 6320612"/>
              <a:gd name="connsiteY2" fmla="*/ 4279221 h 4279221"/>
              <a:gd name="connsiteX3" fmla="*/ 6320598 w 6320612"/>
              <a:gd name="connsiteY3" fmla="*/ 26 h 4279221"/>
              <a:gd name="connsiteX0" fmla="*/ 6368241 w 6368254"/>
              <a:gd name="connsiteY0" fmla="*/ 27 h 4255401"/>
              <a:gd name="connsiteX1" fmla="*/ 0 w 6368254"/>
              <a:gd name="connsiteY1" fmla="*/ 3611651 h 4255401"/>
              <a:gd name="connsiteX2" fmla="*/ 5105160 w 6368254"/>
              <a:gd name="connsiteY2" fmla="*/ 4255401 h 4255401"/>
              <a:gd name="connsiteX3" fmla="*/ 6368241 w 6368254"/>
              <a:gd name="connsiteY3" fmla="*/ 27 h 4255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68254" h="4255401">
                <a:moveTo>
                  <a:pt x="6368241" y="27"/>
                </a:moveTo>
                <a:cubicBezTo>
                  <a:pt x="6379141" y="-11299"/>
                  <a:pt x="4982" y="3607096"/>
                  <a:pt x="0" y="3611651"/>
                </a:cubicBezTo>
                <a:lnTo>
                  <a:pt x="5105160" y="4255401"/>
                </a:lnTo>
                <a:lnTo>
                  <a:pt x="6368241" y="2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2780145" y="1397036"/>
            <a:ext cx="8802255" cy="3979794"/>
          </a:xfrm>
          <a:custGeom>
            <a:avLst/>
            <a:gdLst>
              <a:gd name="connsiteX0" fmla="*/ 3 w 2571750"/>
              <a:gd name="connsiteY0" fmla="*/ 982319 h 2571750"/>
              <a:gd name="connsiteX1" fmla="*/ 1285875 w 2571750"/>
              <a:gd name="connsiteY1" fmla="*/ 0 h 2571750"/>
              <a:gd name="connsiteX2" fmla="*/ 2571747 w 2571750"/>
              <a:gd name="connsiteY2" fmla="*/ 982319 h 2571750"/>
              <a:gd name="connsiteX3" fmla="*/ 2080588 w 2571750"/>
              <a:gd name="connsiteY3" fmla="*/ 2571743 h 2571750"/>
              <a:gd name="connsiteX4" fmla="*/ 491162 w 2571750"/>
              <a:gd name="connsiteY4" fmla="*/ 2571743 h 2571750"/>
              <a:gd name="connsiteX5" fmla="*/ 3 w 2571750"/>
              <a:gd name="connsiteY5" fmla="*/ 982319 h 2571750"/>
              <a:gd name="connsiteX0" fmla="*/ 0 w 2571744"/>
              <a:gd name="connsiteY0" fmla="*/ 1791944 h 3381368"/>
              <a:gd name="connsiteX1" fmla="*/ 1800222 w 2571744"/>
              <a:gd name="connsiteY1" fmla="*/ 0 h 3381368"/>
              <a:gd name="connsiteX2" fmla="*/ 2571744 w 2571744"/>
              <a:gd name="connsiteY2" fmla="*/ 1791944 h 3381368"/>
              <a:gd name="connsiteX3" fmla="*/ 2080585 w 2571744"/>
              <a:gd name="connsiteY3" fmla="*/ 3381368 h 3381368"/>
              <a:gd name="connsiteX4" fmla="*/ 491159 w 2571744"/>
              <a:gd name="connsiteY4" fmla="*/ 3381368 h 3381368"/>
              <a:gd name="connsiteX5" fmla="*/ 0 w 2571744"/>
              <a:gd name="connsiteY5" fmla="*/ 1791944 h 3381368"/>
              <a:gd name="connsiteX0" fmla="*/ 0 w 5010144"/>
              <a:gd name="connsiteY0" fmla="*/ 2458694 h 3381368"/>
              <a:gd name="connsiteX1" fmla="*/ 4238622 w 5010144"/>
              <a:gd name="connsiteY1" fmla="*/ 0 h 3381368"/>
              <a:gd name="connsiteX2" fmla="*/ 5010144 w 5010144"/>
              <a:gd name="connsiteY2" fmla="*/ 1791944 h 3381368"/>
              <a:gd name="connsiteX3" fmla="*/ 4518985 w 5010144"/>
              <a:gd name="connsiteY3" fmla="*/ 3381368 h 3381368"/>
              <a:gd name="connsiteX4" fmla="*/ 2929559 w 5010144"/>
              <a:gd name="connsiteY4" fmla="*/ 3381368 h 3381368"/>
              <a:gd name="connsiteX5" fmla="*/ 0 w 5010144"/>
              <a:gd name="connsiteY5" fmla="*/ 2458694 h 3381368"/>
              <a:gd name="connsiteX0" fmla="*/ 0 w 5010144"/>
              <a:gd name="connsiteY0" fmla="*/ 2458694 h 6905618"/>
              <a:gd name="connsiteX1" fmla="*/ 4238622 w 5010144"/>
              <a:gd name="connsiteY1" fmla="*/ 0 h 6905618"/>
              <a:gd name="connsiteX2" fmla="*/ 5010144 w 5010144"/>
              <a:gd name="connsiteY2" fmla="*/ 1791944 h 6905618"/>
              <a:gd name="connsiteX3" fmla="*/ 4518985 w 5010144"/>
              <a:gd name="connsiteY3" fmla="*/ 3381368 h 6905618"/>
              <a:gd name="connsiteX4" fmla="*/ 2872409 w 5010144"/>
              <a:gd name="connsiteY4" fmla="*/ 6905618 h 6905618"/>
              <a:gd name="connsiteX5" fmla="*/ 0 w 5010144"/>
              <a:gd name="connsiteY5" fmla="*/ 2458694 h 6905618"/>
              <a:gd name="connsiteX0" fmla="*/ 0 w 5319085"/>
              <a:gd name="connsiteY0" fmla="*/ 2458694 h 6905618"/>
              <a:gd name="connsiteX1" fmla="*/ 4238622 w 5319085"/>
              <a:gd name="connsiteY1" fmla="*/ 0 h 6905618"/>
              <a:gd name="connsiteX2" fmla="*/ 5010144 w 5319085"/>
              <a:gd name="connsiteY2" fmla="*/ 1791944 h 6905618"/>
              <a:gd name="connsiteX3" fmla="*/ 5319085 w 5319085"/>
              <a:gd name="connsiteY3" fmla="*/ 6867518 h 6905618"/>
              <a:gd name="connsiteX4" fmla="*/ 2872409 w 5319085"/>
              <a:gd name="connsiteY4" fmla="*/ 6905618 h 6905618"/>
              <a:gd name="connsiteX5" fmla="*/ 0 w 5319085"/>
              <a:gd name="connsiteY5" fmla="*/ 2458694 h 6905618"/>
              <a:gd name="connsiteX0" fmla="*/ 0 w 5319085"/>
              <a:gd name="connsiteY0" fmla="*/ 2458694 h 6896093"/>
              <a:gd name="connsiteX1" fmla="*/ 4238622 w 5319085"/>
              <a:gd name="connsiteY1" fmla="*/ 0 h 6896093"/>
              <a:gd name="connsiteX2" fmla="*/ 5010144 w 5319085"/>
              <a:gd name="connsiteY2" fmla="*/ 1791944 h 6896093"/>
              <a:gd name="connsiteX3" fmla="*/ 5319085 w 5319085"/>
              <a:gd name="connsiteY3" fmla="*/ 6867518 h 6896093"/>
              <a:gd name="connsiteX4" fmla="*/ 2862884 w 5319085"/>
              <a:gd name="connsiteY4" fmla="*/ 6896093 h 6896093"/>
              <a:gd name="connsiteX5" fmla="*/ 0 w 5319085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5319085 w 8543919"/>
              <a:gd name="connsiteY3" fmla="*/ 6867518 h 6896093"/>
              <a:gd name="connsiteX4" fmla="*/ 2862884 w 8543919"/>
              <a:gd name="connsiteY4" fmla="*/ 6896093 h 6896093"/>
              <a:gd name="connsiteX5" fmla="*/ 0 w 8543919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105772 w 8543919"/>
              <a:gd name="connsiteY3" fmla="*/ 30575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327425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02910 w 8527744"/>
              <a:gd name="connsiteY4" fmla="*/ 686751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523432 w 8527744"/>
              <a:gd name="connsiteY3" fmla="*/ 5782739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846709 w 8527744"/>
              <a:gd name="connsiteY5" fmla="*/ 689609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935665 w 8527744"/>
              <a:gd name="connsiteY5" fmla="*/ 687348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307659 w 8527744"/>
              <a:gd name="connsiteY5" fmla="*/ 6843336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170183 w 8527744"/>
              <a:gd name="connsiteY5" fmla="*/ 6911167 h 6912738"/>
              <a:gd name="connsiteX6" fmla="*/ 0 w 8527744"/>
              <a:gd name="connsiteY6" fmla="*/ 2353181 h 6912738"/>
              <a:gd name="connsiteX0" fmla="*/ 0 w 8527744"/>
              <a:gd name="connsiteY0" fmla="*/ 2371035 h 6930592"/>
              <a:gd name="connsiteX1" fmla="*/ 3301 w 8527744"/>
              <a:gd name="connsiteY1" fmla="*/ 0 h 6930592"/>
              <a:gd name="connsiteX2" fmla="*/ 8527744 w 8527744"/>
              <a:gd name="connsiteY2" fmla="*/ 2345279 h 6930592"/>
              <a:gd name="connsiteX3" fmla="*/ 8523432 w 8527744"/>
              <a:gd name="connsiteY3" fmla="*/ 5800593 h 6930592"/>
              <a:gd name="connsiteX4" fmla="*/ 5310998 w 8527744"/>
              <a:gd name="connsiteY4" fmla="*/ 6930592 h 6930592"/>
              <a:gd name="connsiteX5" fmla="*/ 3170183 w 8527744"/>
              <a:gd name="connsiteY5" fmla="*/ 6929021 h 6930592"/>
              <a:gd name="connsiteX6" fmla="*/ 0 w 8527744"/>
              <a:gd name="connsiteY6" fmla="*/ 2371035 h 6930592"/>
              <a:gd name="connsiteX0" fmla="*/ 0 w 8527744"/>
              <a:gd name="connsiteY0" fmla="*/ 2371035 h 6930592"/>
              <a:gd name="connsiteX1" fmla="*/ 3301 w 8527744"/>
              <a:gd name="connsiteY1" fmla="*/ 0 h 6930592"/>
              <a:gd name="connsiteX2" fmla="*/ 8527744 w 8527744"/>
              <a:gd name="connsiteY2" fmla="*/ 2345279 h 6930592"/>
              <a:gd name="connsiteX3" fmla="*/ 8523432 w 8527744"/>
              <a:gd name="connsiteY3" fmla="*/ 5800593 h 6930592"/>
              <a:gd name="connsiteX4" fmla="*/ 5310998 w 8527744"/>
              <a:gd name="connsiteY4" fmla="*/ 6930592 h 6930592"/>
              <a:gd name="connsiteX5" fmla="*/ 3170183 w 8527744"/>
              <a:gd name="connsiteY5" fmla="*/ 6929021 h 6930592"/>
              <a:gd name="connsiteX6" fmla="*/ 0 w 8527744"/>
              <a:gd name="connsiteY6" fmla="*/ 2371035 h 6930592"/>
              <a:gd name="connsiteX0" fmla="*/ 0 w 11641338"/>
              <a:gd name="connsiteY0" fmla="*/ 2681028 h 7240585"/>
              <a:gd name="connsiteX1" fmla="*/ 3301 w 11641338"/>
              <a:gd name="connsiteY1" fmla="*/ 309993 h 7240585"/>
              <a:gd name="connsiteX2" fmla="*/ 11641338 w 11641338"/>
              <a:gd name="connsiteY2" fmla="*/ 352111 h 7240585"/>
              <a:gd name="connsiteX3" fmla="*/ 8523432 w 11641338"/>
              <a:gd name="connsiteY3" fmla="*/ 6110586 h 7240585"/>
              <a:gd name="connsiteX4" fmla="*/ 5310998 w 11641338"/>
              <a:gd name="connsiteY4" fmla="*/ 7240585 h 7240585"/>
              <a:gd name="connsiteX5" fmla="*/ 3170183 w 11641338"/>
              <a:gd name="connsiteY5" fmla="*/ 7239014 h 7240585"/>
              <a:gd name="connsiteX6" fmla="*/ 0 w 11641338"/>
              <a:gd name="connsiteY6" fmla="*/ 2681028 h 7240585"/>
              <a:gd name="connsiteX0" fmla="*/ 0 w 11641338"/>
              <a:gd name="connsiteY0" fmla="*/ 2371035 h 6930592"/>
              <a:gd name="connsiteX1" fmla="*/ 3301 w 11641338"/>
              <a:gd name="connsiteY1" fmla="*/ 0 h 6930592"/>
              <a:gd name="connsiteX2" fmla="*/ 11641338 w 11641338"/>
              <a:gd name="connsiteY2" fmla="*/ 42118 h 6930592"/>
              <a:gd name="connsiteX3" fmla="*/ 8523432 w 11641338"/>
              <a:gd name="connsiteY3" fmla="*/ 5800593 h 6930592"/>
              <a:gd name="connsiteX4" fmla="*/ 5310998 w 11641338"/>
              <a:gd name="connsiteY4" fmla="*/ 6930592 h 6930592"/>
              <a:gd name="connsiteX5" fmla="*/ 3170183 w 11641338"/>
              <a:gd name="connsiteY5" fmla="*/ 6929021 h 6930592"/>
              <a:gd name="connsiteX6" fmla="*/ 0 w 11641338"/>
              <a:gd name="connsiteY6" fmla="*/ 2371035 h 6930592"/>
              <a:gd name="connsiteX0" fmla="*/ 0 w 11641338"/>
              <a:gd name="connsiteY0" fmla="*/ 2371035 h 6930592"/>
              <a:gd name="connsiteX1" fmla="*/ 3301 w 11641338"/>
              <a:gd name="connsiteY1" fmla="*/ 0 h 6930592"/>
              <a:gd name="connsiteX2" fmla="*/ 11641338 w 11641338"/>
              <a:gd name="connsiteY2" fmla="*/ 42118 h 6930592"/>
              <a:gd name="connsiteX3" fmla="*/ 11591901 w 11641338"/>
              <a:gd name="connsiteY3" fmla="*/ 578309 h 6930592"/>
              <a:gd name="connsiteX4" fmla="*/ 5310998 w 11641338"/>
              <a:gd name="connsiteY4" fmla="*/ 6930592 h 6930592"/>
              <a:gd name="connsiteX5" fmla="*/ 3170183 w 11641338"/>
              <a:gd name="connsiteY5" fmla="*/ 6929021 h 6930592"/>
              <a:gd name="connsiteX6" fmla="*/ 0 w 11641338"/>
              <a:gd name="connsiteY6" fmla="*/ 2371035 h 6930592"/>
              <a:gd name="connsiteX0" fmla="*/ 0 w 11641338"/>
              <a:gd name="connsiteY0" fmla="*/ 2371035 h 6930592"/>
              <a:gd name="connsiteX1" fmla="*/ 3301 w 11641338"/>
              <a:gd name="connsiteY1" fmla="*/ 0 h 6930592"/>
              <a:gd name="connsiteX2" fmla="*/ 11641338 w 11641338"/>
              <a:gd name="connsiteY2" fmla="*/ 42118 h 6930592"/>
              <a:gd name="connsiteX3" fmla="*/ 11591901 w 11641338"/>
              <a:gd name="connsiteY3" fmla="*/ 578309 h 6930592"/>
              <a:gd name="connsiteX4" fmla="*/ 5310998 w 11641338"/>
              <a:gd name="connsiteY4" fmla="*/ 6930592 h 6930592"/>
              <a:gd name="connsiteX5" fmla="*/ 3170183 w 11641338"/>
              <a:gd name="connsiteY5" fmla="*/ 6929021 h 6930592"/>
              <a:gd name="connsiteX6" fmla="*/ 0 w 11641338"/>
              <a:gd name="connsiteY6" fmla="*/ 2371035 h 6930592"/>
              <a:gd name="connsiteX0" fmla="*/ 0 w 11672043"/>
              <a:gd name="connsiteY0" fmla="*/ 2371035 h 6930592"/>
              <a:gd name="connsiteX1" fmla="*/ 3301 w 11672043"/>
              <a:gd name="connsiteY1" fmla="*/ 0 h 6930592"/>
              <a:gd name="connsiteX2" fmla="*/ 11641338 w 11672043"/>
              <a:gd name="connsiteY2" fmla="*/ 42118 h 6930592"/>
              <a:gd name="connsiteX3" fmla="*/ 11648308 w 11672043"/>
              <a:gd name="connsiteY3" fmla="*/ 569383 h 6930592"/>
              <a:gd name="connsiteX4" fmla="*/ 5310998 w 11672043"/>
              <a:gd name="connsiteY4" fmla="*/ 6930592 h 6930592"/>
              <a:gd name="connsiteX5" fmla="*/ 3170183 w 11672043"/>
              <a:gd name="connsiteY5" fmla="*/ 6929021 h 6930592"/>
              <a:gd name="connsiteX6" fmla="*/ 0 w 11672043"/>
              <a:gd name="connsiteY6" fmla="*/ 2371035 h 6930592"/>
              <a:gd name="connsiteX0" fmla="*/ 0 w 11652399"/>
              <a:gd name="connsiteY0" fmla="*/ 2371035 h 6930592"/>
              <a:gd name="connsiteX1" fmla="*/ 3301 w 11652399"/>
              <a:gd name="connsiteY1" fmla="*/ 0 h 6930592"/>
              <a:gd name="connsiteX2" fmla="*/ 11641338 w 11652399"/>
              <a:gd name="connsiteY2" fmla="*/ 42118 h 6930592"/>
              <a:gd name="connsiteX3" fmla="*/ 11648308 w 11652399"/>
              <a:gd name="connsiteY3" fmla="*/ 569383 h 6930592"/>
              <a:gd name="connsiteX4" fmla="*/ 5310998 w 11652399"/>
              <a:gd name="connsiteY4" fmla="*/ 6930592 h 6930592"/>
              <a:gd name="connsiteX5" fmla="*/ 3170183 w 11652399"/>
              <a:gd name="connsiteY5" fmla="*/ 6929021 h 6930592"/>
              <a:gd name="connsiteX6" fmla="*/ 0 w 11652399"/>
              <a:gd name="connsiteY6" fmla="*/ 2371035 h 6930592"/>
              <a:gd name="connsiteX0" fmla="*/ 41845 w 11649119"/>
              <a:gd name="connsiteY0" fmla="*/ 6218565 h 6930592"/>
              <a:gd name="connsiteX1" fmla="*/ 21 w 11649119"/>
              <a:gd name="connsiteY1" fmla="*/ 0 h 6930592"/>
              <a:gd name="connsiteX2" fmla="*/ 11638058 w 11649119"/>
              <a:gd name="connsiteY2" fmla="*/ 42118 h 6930592"/>
              <a:gd name="connsiteX3" fmla="*/ 11645028 w 11649119"/>
              <a:gd name="connsiteY3" fmla="*/ 569383 h 6930592"/>
              <a:gd name="connsiteX4" fmla="*/ 5307718 w 11649119"/>
              <a:gd name="connsiteY4" fmla="*/ 6930592 h 6930592"/>
              <a:gd name="connsiteX5" fmla="*/ 3166903 w 11649119"/>
              <a:gd name="connsiteY5" fmla="*/ 6929021 h 6930592"/>
              <a:gd name="connsiteX6" fmla="*/ 41845 w 11649119"/>
              <a:gd name="connsiteY6" fmla="*/ 6218565 h 6930592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187647 w 11649119"/>
              <a:gd name="connsiteY4" fmla="*/ 3654390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187647 w 11649119"/>
              <a:gd name="connsiteY4" fmla="*/ 3654390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5883056 w 11649119"/>
              <a:gd name="connsiteY4" fmla="*/ 2842035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435832 w 11649119"/>
              <a:gd name="connsiteY4" fmla="*/ 3074136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929021"/>
              <a:gd name="connsiteX1" fmla="*/ 21 w 11649119"/>
              <a:gd name="connsiteY1" fmla="*/ 0 h 6929021"/>
              <a:gd name="connsiteX2" fmla="*/ 11638058 w 11649119"/>
              <a:gd name="connsiteY2" fmla="*/ 42118 h 6929021"/>
              <a:gd name="connsiteX3" fmla="*/ 11645028 w 11649119"/>
              <a:gd name="connsiteY3" fmla="*/ 569383 h 6929021"/>
              <a:gd name="connsiteX4" fmla="*/ 6435832 w 11649119"/>
              <a:gd name="connsiteY4" fmla="*/ 3074136 h 6929021"/>
              <a:gd name="connsiteX5" fmla="*/ 3166903 w 11649119"/>
              <a:gd name="connsiteY5" fmla="*/ 6929021 h 6929021"/>
              <a:gd name="connsiteX6" fmla="*/ 41845 w 11649119"/>
              <a:gd name="connsiteY6" fmla="*/ 6218565 h 6929021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2230568 w 11649119"/>
              <a:gd name="connsiteY5" fmla="*/ 2956514 h 6218565"/>
              <a:gd name="connsiteX6" fmla="*/ 41845 w 11649119"/>
              <a:gd name="connsiteY6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685052 w 11649119"/>
              <a:gd name="connsiteY5" fmla="*/ 5920272 h 6218565"/>
              <a:gd name="connsiteX6" fmla="*/ 41845 w 11649119"/>
              <a:gd name="connsiteY6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910610 w 11649119"/>
              <a:gd name="connsiteY5" fmla="*/ 5785337 h 6218565"/>
              <a:gd name="connsiteX6" fmla="*/ 685052 w 11649119"/>
              <a:gd name="connsiteY6" fmla="*/ 5920272 h 6218565"/>
              <a:gd name="connsiteX7" fmla="*/ 41845 w 11649119"/>
              <a:gd name="connsiteY7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414240 w 11649119"/>
              <a:gd name="connsiteY5" fmla="*/ 5544308 h 6218565"/>
              <a:gd name="connsiteX6" fmla="*/ 685052 w 11649119"/>
              <a:gd name="connsiteY6" fmla="*/ 5920272 h 6218565"/>
              <a:gd name="connsiteX7" fmla="*/ 41845 w 11649119"/>
              <a:gd name="connsiteY7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2038724 w 11649119"/>
              <a:gd name="connsiteY5" fmla="*/ 4856930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1350574 w 11649119"/>
              <a:gd name="connsiteY5" fmla="*/ 1866392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054026 w 11649119"/>
              <a:gd name="connsiteY5" fmla="*/ 1179014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674488 w 11649119"/>
              <a:gd name="connsiteY5" fmla="*/ 857643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414240 w 11649119"/>
              <a:gd name="connsiteY6" fmla="*/ 5544308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8119 w 11649119"/>
              <a:gd name="connsiteY6" fmla="*/ 4580194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75806 w 11649119"/>
              <a:gd name="connsiteY6" fmla="*/ 3089389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234523 w 11649119"/>
              <a:gd name="connsiteY5" fmla="*/ 830862 h 6218565"/>
              <a:gd name="connsiteX6" fmla="*/ 402958 w 11649119"/>
              <a:gd name="connsiteY6" fmla="*/ 3464323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435832 w 11649119"/>
              <a:gd name="connsiteY4" fmla="*/ 3074136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685052 w 11649119"/>
              <a:gd name="connsiteY7" fmla="*/ 5920272 h 6218565"/>
              <a:gd name="connsiteX8" fmla="*/ 41845 w 11649119"/>
              <a:gd name="connsiteY8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651143 w 11649119"/>
              <a:gd name="connsiteY7" fmla="*/ 5615724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527050 w 11649119"/>
              <a:gd name="connsiteY7" fmla="*/ 584782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290146 w 11649119"/>
              <a:gd name="connsiteY7" fmla="*/ 5883534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365795 w 11649119"/>
              <a:gd name="connsiteY7" fmla="*/ 59649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02958 w 11649119"/>
              <a:gd name="connsiteY6" fmla="*/ 3464323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48626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58615 w 11649119"/>
              <a:gd name="connsiteY5" fmla="*/ 1366480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79427 w 11649119"/>
              <a:gd name="connsiteY4" fmla="*/ 3083064 h 6218565"/>
              <a:gd name="connsiteX5" fmla="*/ 3381177 w 11649119"/>
              <a:gd name="connsiteY5" fmla="*/ 1375407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41845 w 11649119"/>
              <a:gd name="connsiteY0" fmla="*/ 6218565 h 6218565"/>
              <a:gd name="connsiteX1" fmla="*/ 21 w 11649119"/>
              <a:gd name="connsiteY1" fmla="*/ 0 h 6218565"/>
              <a:gd name="connsiteX2" fmla="*/ 11638058 w 11649119"/>
              <a:gd name="connsiteY2" fmla="*/ 42118 h 6218565"/>
              <a:gd name="connsiteX3" fmla="*/ 11645028 w 11649119"/>
              <a:gd name="connsiteY3" fmla="*/ 569383 h 6218565"/>
              <a:gd name="connsiteX4" fmla="*/ 6356865 w 11649119"/>
              <a:gd name="connsiteY4" fmla="*/ 3091991 h 6218565"/>
              <a:gd name="connsiteX5" fmla="*/ 3381177 w 11649119"/>
              <a:gd name="connsiteY5" fmla="*/ 1375407 h 6218565"/>
              <a:gd name="connsiteX6" fmla="*/ 418089 w 11649119"/>
              <a:gd name="connsiteY6" fmla="*/ 3437984 h 6218565"/>
              <a:gd name="connsiteX7" fmla="*/ 417236 w 11649119"/>
              <a:gd name="connsiteY7" fmla="*/ 5921846 h 6218565"/>
              <a:gd name="connsiteX8" fmla="*/ 685052 w 11649119"/>
              <a:gd name="connsiteY8" fmla="*/ 5920272 h 6218565"/>
              <a:gd name="connsiteX9" fmla="*/ 41845 w 11649119"/>
              <a:gd name="connsiteY9" fmla="*/ 6218565 h 6218565"/>
              <a:gd name="connsiteX0" fmla="*/ 19302 w 11649138"/>
              <a:gd name="connsiteY0" fmla="*/ 6209638 h 6209638"/>
              <a:gd name="connsiteX1" fmla="*/ 40 w 11649138"/>
              <a:gd name="connsiteY1" fmla="*/ 0 h 6209638"/>
              <a:gd name="connsiteX2" fmla="*/ 11638077 w 11649138"/>
              <a:gd name="connsiteY2" fmla="*/ 42118 h 6209638"/>
              <a:gd name="connsiteX3" fmla="*/ 11645047 w 11649138"/>
              <a:gd name="connsiteY3" fmla="*/ 569383 h 6209638"/>
              <a:gd name="connsiteX4" fmla="*/ 6356884 w 11649138"/>
              <a:gd name="connsiteY4" fmla="*/ 3091991 h 6209638"/>
              <a:gd name="connsiteX5" fmla="*/ 3381196 w 11649138"/>
              <a:gd name="connsiteY5" fmla="*/ 1375407 h 6209638"/>
              <a:gd name="connsiteX6" fmla="*/ 418108 w 11649138"/>
              <a:gd name="connsiteY6" fmla="*/ 3437984 h 6209638"/>
              <a:gd name="connsiteX7" fmla="*/ 417255 w 11649138"/>
              <a:gd name="connsiteY7" fmla="*/ 5921846 h 6209638"/>
              <a:gd name="connsiteX8" fmla="*/ 685071 w 11649138"/>
              <a:gd name="connsiteY8" fmla="*/ 5920272 h 6209638"/>
              <a:gd name="connsiteX9" fmla="*/ 19302 w 11649138"/>
              <a:gd name="connsiteY9" fmla="*/ 6209638 h 6209638"/>
              <a:gd name="connsiteX0" fmla="*/ 8065 w 11649181"/>
              <a:gd name="connsiteY0" fmla="*/ 6218564 h 6218564"/>
              <a:gd name="connsiteX1" fmla="*/ 83 w 11649181"/>
              <a:gd name="connsiteY1" fmla="*/ 0 h 6218564"/>
              <a:gd name="connsiteX2" fmla="*/ 11638120 w 11649181"/>
              <a:gd name="connsiteY2" fmla="*/ 42118 h 6218564"/>
              <a:gd name="connsiteX3" fmla="*/ 11645090 w 11649181"/>
              <a:gd name="connsiteY3" fmla="*/ 569383 h 6218564"/>
              <a:gd name="connsiteX4" fmla="*/ 6356927 w 11649181"/>
              <a:gd name="connsiteY4" fmla="*/ 3091991 h 6218564"/>
              <a:gd name="connsiteX5" fmla="*/ 3381239 w 11649181"/>
              <a:gd name="connsiteY5" fmla="*/ 1375407 h 6218564"/>
              <a:gd name="connsiteX6" fmla="*/ 418151 w 11649181"/>
              <a:gd name="connsiteY6" fmla="*/ 3437984 h 6218564"/>
              <a:gd name="connsiteX7" fmla="*/ 417298 w 11649181"/>
              <a:gd name="connsiteY7" fmla="*/ 5921846 h 6218564"/>
              <a:gd name="connsiteX8" fmla="*/ 685114 w 11649181"/>
              <a:gd name="connsiteY8" fmla="*/ 5920272 h 6218564"/>
              <a:gd name="connsiteX9" fmla="*/ 8065 w 11649181"/>
              <a:gd name="connsiteY9" fmla="*/ 6218564 h 6218564"/>
              <a:gd name="connsiteX0" fmla="*/ 8065 w 11649181"/>
              <a:gd name="connsiteY0" fmla="*/ 6218564 h 6218564"/>
              <a:gd name="connsiteX1" fmla="*/ 83 w 11649181"/>
              <a:gd name="connsiteY1" fmla="*/ 0 h 6218564"/>
              <a:gd name="connsiteX2" fmla="*/ 11638120 w 11649181"/>
              <a:gd name="connsiteY2" fmla="*/ 42118 h 6218564"/>
              <a:gd name="connsiteX3" fmla="*/ 11645090 w 11649181"/>
              <a:gd name="connsiteY3" fmla="*/ 569383 h 6218564"/>
              <a:gd name="connsiteX4" fmla="*/ 6356927 w 11649181"/>
              <a:gd name="connsiteY4" fmla="*/ 3091991 h 6218564"/>
              <a:gd name="connsiteX5" fmla="*/ 3381239 w 11649181"/>
              <a:gd name="connsiteY5" fmla="*/ 1375407 h 6218564"/>
              <a:gd name="connsiteX6" fmla="*/ 418151 w 11649181"/>
              <a:gd name="connsiteY6" fmla="*/ 3437984 h 6218564"/>
              <a:gd name="connsiteX7" fmla="*/ 417298 w 11649181"/>
              <a:gd name="connsiteY7" fmla="*/ 5921846 h 6218564"/>
              <a:gd name="connsiteX8" fmla="*/ 685114 w 11649181"/>
              <a:gd name="connsiteY8" fmla="*/ 5920272 h 6218564"/>
              <a:gd name="connsiteX9" fmla="*/ 8065 w 11649181"/>
              <a:gd name="connsiteY9" fmla="*/ 6218564 h 6218564"/>
              <a:gd name="connsiteX0" fmla="*/ 8065 w 11647413"/>
              <a:gd name="connsiteY0" fmla="*/ 6218564 h 6218564"/>
              <a:gd name="connsiteX1" fmla="*/ 83 w 11647413"/>
              <a:gd name="connsiteY1" fmla="*/ 0 h 6218564"/>
              <a:gd name="connsiteX2" fmla="*/ 11615559 w 11647413"/>
              <a:gd name="connsiteY2" fmla="*/ 33190 h 6218564"/>
              <a:gd name="connsiteX3" fmla="*/ 11645090 w 11647413"/>
              <a:gd name="connsiteY3" fmla="*/ 569383 h 6218564"/>
              <a:gd name="connsiteX4" fmla="*/ 6356927 w 11647413"/>
              <a:gd name="connsiteY4" fmla="*/ 3091991 h 6218564"/>
              <a:gd name="connsiteX5" fmla="*/ 3381239 w 11647413"/>
              <a:gd name="connsiteY5" fmla="*/ 1375407 h 6218564"/>
              <a:gd name="connsiteX6" fmla="*/ 418151 w 11647413"/>
              <a:gd name="connsiteY6" fmla="*/ 3437984 h 6218564"/>
              <a:gd name="connsiteX7" fmla="*/ 417298 w 11647413"/>
              <a:gd name="connsiteY7" fmla="*/ 5921846 h 6218564"/>
              <a:gd name="connsiteX8" fmla="*/ 685114 w 11647413"/>
              <a:gd name="connsiteY8" fmla="*/ 5920272 h 6218564"/>
              <a:gd name="connsiteX9" fmla="*/ 8065 w 11647413"/>
              <a:gd name="connsiteY9" fmla="*/ 6218564 h 6218564"/>
              <a:gd name="connsiteX0" fmla="*/ 0 w 11639349"/>
              <a:gd name="connsiteY0" fmla="*/ 6209637 h 6209637"/>
              <a:gd name="connsiteX1" fmla="*/ 3299 w 11639349"/>
              <a:gd name="connsiteY1" fmla="*/ 0 h 6209637"/>
              <a:gd name="connsiteX2" fmla="*/ 11607494 w 11639349"/>
              <a:gd name="connsiteY2" fmla="*/ 24263 h 6209637"/>
              <a:gd name="connsiteX3" fmla="*/ 11637025 w 11639349"/>
              <a:gd name="connsiteY3" fmla="*/ 560456 h 6209637"/>
              <a:gd name="connsiteX4" fmla="*/ 6348862 w 11639349"/>
              <a:gd name="connsiteY4" fmla="*/ 3083064 h 6209637"/>
              <a:gd name="connsiteX5" fmla="*/ 3373174 w 11639349"/>
              <a:gd name="connsiteY5" fmla="*/ 1366480 h 6209637"/>
              <a:gd name="connsiteX6" fmla="*/ 410086 w 11639349"/>
              <a:gd name="connsiteY6" fmla="*/ 3429057 h 6209637"/>
              <a:gd name="connsiteX7" fmla="*/ 409233 w 11639349"/>
              <a:gd name="connsiteY7" fmla="*/ 5912919 h 6209637"/>
              <a:gd name="connsiteX8" fmla="*/ 677049 w 11639349"/>
              <a:gd name="connsiteY8" fmla="*/ 5911345 h 6209637"/>
              <a:gd name="connsiteX9" fmla="*/ 0 w 11639349"/>
              <a:gd name="connsiteY9" fmla="*/ 6209637 h 6209637"/>
              <a:gd name="connsiteX0" fmla="*/ 0 w 11650218"/>
              <a:gd name="connsiteY0" fmla="*/ 6209637 h 6209637"/>
              <a:gd name="connsiteX1" fmla="*/ 3299 w 11650218"/>
              <a:gd name="connsiteY1" fmla="*/ 0 h 6209637"/>
              <a:gd name="connsiteX2" fmla="*/ 11607494 w 11650218"/>
              <a:gd name="connsiteY2" fmla="*/ 24263 h 6209637"/>
              <a:gd name="connsiteX3" fmla="*/ 11648306 w 11650218"/>
              <a:gd name="connsiteY3" fmla="*/ 2167313 h 6209637"/>
              <a:gd name="connsiteX4" fmla="*/ 6348862 w 11650218"/>
              <a:gd name="connsiteY4" fmla="*/ 3083064 h 6209637"/>
              <a:gd name="connsiteX5" fmla="*/ 3373174 w 11650218"/>
              <a:gd name="connsiteY5" fmla="*/ 1366480 h 6209637"/>
              <a:gd name="connsiteX6" fmla="*/ 410086 w 11650218"/>
              <a:gd name="connsiteY6" fmla="*/ 3429057 h 6209637"/>
              <a:gd name="connsiteX7" fmla="*/ 409233 w 11650218"/>
              <a:gd name="connsiteY7" fmla="*/ 5912919 h 6209637"/>
              <a:gd name="connsiteX8" fmla="*/ 677049 w 11650218"/>
              <a:gd name="connsiteY8" fmla="*/ 5911345 h 6209637"/>
              <a:gd name="connsiteX9" fmla="*/ 0 w 11650218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677049 w 11650217"/>
              <a:gd name="connsiteY8" fmla="*/ 5911345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677049 w 11650217"/>
              <a:gd name="connsiteY8" fmla="*/ 5911345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6348862 w 11650217"/>
              <a:gd name="connsiteY4" fmla="*/ 3083064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7375446 w 11650217"/>
              <a:gd name="connsiteY4" fmla="*/ 3663318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67313 h 6209637"/>
              <a:gd name="connsiteX4" fmla="*/ 7375446 w 11650217"/>
              <a:gd name="connsiteY4" fmla="*/ 3663318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50217"/>
              <a:gd name="connsiteY0" fmla="*/ 6209637 h 6209637"/>
              <a:gd name="connsiteX1" fmla="*/ 3299 w 11650217"/>
              <a:gd name="connsiteY1" fmla="*/ 0 h 6209637"/>
              <a:gd name="connsiteX2" fmla="*/ 11607494 w 11650217"/>
              <a:gd name="connsiteY2" fmla="*/ 24263 h 6209637"/>
              <a:gd name="connsiteX3" fmla="*/ 11648306 w 11650217"/>
              <a:gd name="connsiteY3" fmla="*/ 2122678 h 6209637"/>
              <a:gd name="connsiteX4" fmla="*/ 7375446 w 11650217"/>
              <a:gd name="connsiteY4" fmla="*/ 3663318 h 6209637"/>
              <a:gd name="connsiteX5" fmla="*/ 3373174 w 11650217"/>
              <a:gd name="connsiteY5" fmla="*/ 1366480 h 6209637"/>
              <a:gd name="connsiteX6" fmla="*/ 410086 w 11650217"/>
              <a:gd name="connsiteY6" fmla="*/ 3429057 h 6209637"/>
              <a:gd name="connsiteX7" fmla="*/ 409233 w 11650217"/>
              <a:gd name="connsiteY7" fmla="*/ 5912919 h 6209637"/>
              <a:gd name="connsiteX8" fmla="*/ 880109 w 11650217"/>
              <a:gd name="connsiteY8" fmla="*/ 5902418 h 6209637"/>
              <a:gd name="connsiteX9" fmla="*/ 0 w 11650217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375446 w 11639350"/>
              <a:gd name="connsiteY4" fmla="*/ 3663318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880109 w 11639350"/>
              <a:gd name="connsiteY8" fmla="*/ 5902418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880109 w 11639350"/>
              <a:gd name="connsiteY8" fmla="*/ 5902418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857546 w 11639350"/>
              <a:gd name="connsiteY8" fmla="*/ 5875637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3373174 w 11639350"/>
              <a:gd name="connsiteY5" fmla="*/ 1366480 h 6209637"/>
              <a:gd name="connsiteX6" fmla="*/ 410086 w 11639350"/>
              <a:gd name="connsiteY6" fmla="*/ 3429057 h 6209637"/>
              <a:gd name="connsiteX7" fmla="*/ 409233 w 11639350"/>
              <a:gd name="connsiteY7" fmla="*/ 5912919 h 6209637"/>
              <a:gd name="connsiteX8" fmla="*/ 936514 w 11639350"/>
              <a:gd name="connsiteY8" fmla="*/ 5884563 h 6209637"/>
              <a:gd name="connsiteX9" fmla="*/ 0 w 11639350"/>
              <a:gd name="connsiteY9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410086 w 11639350"/>
              <a:gd name="connsiteY5" fmla="*/ 3429057 h 6209637"/>
              <a:gd name="connsiteX6" fmla="*/ 409233 w 11639350"/>
              <a:gd name="connsiteY6" fmla="*/ 5912919 h 6209637"/>
              <a:gd name="connsiteX7" fmla="*/ 936514 w 11639350"/>
              <a:gd name="connsiteY7" fmla="*/ 5884563 h 6209637"/>
              <a:gd name="connsiteX8" fmla="*/ 0 w 11639350"/>
              <a:gd name="connsiteY8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409233 w 11639350"/>
              <a:gd name="connsiteY5" fmla="*/ 5912919 h 6209637"/>
              <a:gd name="connsiteX6" fmla="*/ 936514 w 11639350"/>
              <a:gd name="connsiteY6" fmla="*/ 5884563 h 6209637"/>
              <a:gd name="connsiteX7" fmla="*/ 0 w 11639350"/>
              <a:gd name="connsiteY7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936514 w 11639350"/>
              <a:gd name="connsiteY5" fmla="*/ 5884563 h 6209637"/>
              <a:gd name="connsiteX6" fmla="*/ 0 w 11639350"/>
              <a:gd name="connsiteY6" fmla="*/ 6209637 h 6209637"/>
              <a:gd name="connsiteX0" fmla="*/ 0 w 11639350"/>
              <a:gd name="connsiteY0" fmla="*/ 6209637 h 6209637"/>
              <a:gd name="connsiteX1" fmla="*/ 3299 w 11639350"/>
              <a:gd name="connsiteY1" fmla="*/ 0 h 6209637"/>
              <a:gd name="connsiteX2" fmla="*/ 11607494 w 11639350"/>
              <a:gd name="connsiteY2" fmla="*/ 24263 h 6209637"/>
              <a:gd name="connsiteX3" fmla="*/ 11637026 w 11639350"/>
              <a:gd name="connsiteY3" fmla="*/ 2051261 h 6209637"/>
              <a:gd name="connsiteX4" fmla="*/ 7285196 w 11639350"/>
              <a:gd name="connsiteY4" fmla="*/ 3627610 h 6209637"/>
              <a:gd name="connsiteX5" fmla="*/ 0 w 11639350"/>
              <a:gd name="connsiteY5" fmla="*/ 6209637 h 6209637"/>
              <a:gd name="connsiteX0" fmla="*/ 3899975 w 11636052"/>
              <a:gd name="connsiteY0" fmla="*/ 5772215 h 5772215"/>
              <a:gd name="connsiteX1" fmla="*/ 1 w 11636052"/>
              <a:gd name="connsiteY1" fmla="*/ 0 h 5772215"/>
              <a:gd name="connsiteX2" fmla="*/ 11604196 w 11636052"/>
              <a:gd name="connsiteY2" fmla="*/ 24263 h 5772215"/>
              <a:gd name="connsiteX3" fmla="*/ 11633728 w 11636052"/>
              <a:gd name="connsiteY3" fmla="*/ 2051261 h 5772215"/>
              <a:gd name="connsiteX4" fmla="*/ 7281898 w 11636052"/>
              <a:gd name="connsiteY4" fmla="*/ 3627610 h 5772215"/>
              <a:gd name="connsiteX5" fmla="*/ 3899975 w 11636052"/>
              <a:gd name="connsiteY5" fmla="*/ 5772215 h 5772215"/>
              <a:gd name="connsiteX0" fmla="*/ 2534957 w 10271034"/>
              <a:gd name="connsiteY0" fmla="*/ 5747952 h 5747952"/>
              <a:gd name="connsiteX1" fmla="*/ 1 w 10271034"/>
              <a:gd name="connsiteY1" fmla="*/ 5019482 h 5747952"/>
              <a:gd name="connsiteX2" fmla="*/ 10239178 w 10271034"/>
              <a:gd name="connsiteY2" fmla="*/ 0 h 5747952"/>
              <a:gd name="connsiteX3" fmla="*/ 10268710 w 10271034"/>
              <a:gd name="connsiteY3" fmla="*/ 2026998 h 5747952"/>
              <a:gd name="connsiteX4" fmla="*/ 5916880 w 10271034"/>
              <a:gd name="connsiteY4" fmla="*/ 3603347 h 5747952"/>
              <a:gd name="connsiteX5" fmla="*/ 2534957 w 10271034"/>
              <a:gd name="connsiteY5" fmla="*/ 5747952 h 5747952"/>
              <a:gd name="connsiteX0" fmla="*/ 2534957 w 10268742"/>
              <a:gd name="connsiteY0" fmla="*/ 4301780 h 4301780"/>
              <a:gd name="connsiteX1" fmla="*/ 1 w 10268742"/>
              <a:gd name="connsiteY1" fmla="*/ 3573310 h 4301780"/>
              <a:gd name="connsiteX2" fmla="*/ 6414873 w 10268742"/>
              <a:gd name="connsiteY2" fmla="*/ 0 h 4301780"/>
              <a:gd name="connsiteX3" fmla="*/ 10268710 w 10268742"/>
              <a:gd name="connsiteY3" fmla="*/ 580826 h 4301780"/>
              <a:gd name="connsiteX4" fmla="*/ 5916880 w 10268742"/>
              <a:gd name="connsiteY4" fmla="*/ 2157175 h 4301780"/>
              <a:gd name="connsiteX5" fmla="*/ 2534957 w 10268742"/>
              <a:gd name="connsiteY5" fmla="*/ 4301780 h 4301780"/>
              <a:gd name="connsiteX0" fmla="*/ 2534957 w 10088245"/>
              <a:gd name="connsiteY0" fmla="*/ 4301780 h 4562296"/>
              <a:gd name="connsiteX1" fmla="*/ 1 w 10088245"/>
              <a:gd name="connsiteY1" fmla="*/ 3573310 h 4562296"/>
              <a:gd name="connsiteX2" fmla="*/ 6414873 w 10088245"/>
              <a:gd name="connsiteY2" fmla="*/ 0 h 4562296"/>
              <a:gd name="connsiteX3" fmla="*/ 10088213 w 10088245"/>
              <a:gd name="connsiteY3" fmla="*/ 4562261 h 4562296"/>
              <a:gd name="connsiteX4" fmla="*/ 5916880 w 10088245"/>
              <a:gd name="connsiteY4" fmla="*/ 2157175 h 4562296"/>
              <a:gd name="connsiteX5" fmla="*/ 2534957 w 10088245"/>
              <a:gd name="connsiteY5" fmla="*/ 4301780 h 4562296"/>
              <a:gd name="connsiteX0" fmla="*/ 2534957 w 10088245"/>
              <a:gd name="connsiteY0" fmla="*/ 4301780 h 4853349"/>
              <a:gd name="connsiteX1" fmla="*/ 1 w 10088245"/>
              <a:gd name="connsiteY1" fmla="*/ 3573310 h 4853349"/>
              <a:gd name="connsiteX2" fmla="*/ 6414873 w 10088245"/>
              <a:gd name="connsiteY2" fmla="*/ 0 h 4853349"/>
              <a:gd name="connsiteX3" fmla="*/ 10088213 w 10088245"/>
              <a:gd name="connsiteY3" fmla="*/ 4562261 h 4853349"/>
              <a:gd name="connsiteX4" fmla="*/ 2534957 w 10088245"/>
              <a:gd name="connsiteY4" fmla="*/ 4301780 h 4853349"/>
              <a:gd name="connsiteX0" fmla="*/ 10088212 w 10088244"/>
              <a:gd name="connsiteY0" fmla="*/ 4562261 h 4766245"/>
              <a:gd name="connsiteX1" fmla="*/ 0 w 10088244"/>
              <a:gd name="connsiteY1" fmla="*/ 3573310 h 4766245"/>
              <a:gd name="connsiteX2" fmla="*/ 6414872 w 10088244"/>
              <a:gd name="connsiteY2" fmla="*/ 0 h 4766245"/>
              <a:gd name="connsiteX3" fmla="*/ 10088212 w 10088244"/>
              <a:gd name="connsiteY3" fmla="*/ 4562261 h 4766245"/>
              <a:gd name="connsiteX0" fmla="*/ 10088212 w 10088244"/>
              <a:gd name="connsiteY0" fmla="*/ 4562261 h 4766245"/>
              <a:gd name="connsiteX1" fmla="*/ 0 w 10088244"/>
              <a:gd name="connsiteY1" fmla="*/ 3573310 h 4766245"/>
              <a:gd name="connsiteX2" fmla="*/ 6414872 w 10088244"/>
              <a:gd name="connsiteY2" fmla="*/ 0 h 4766245"/>
              <a:gd name="connsiteX3" fmla="*/ 10088212 w 10088244"/>
              <a:gd name="connsiteY3" fmla="*/ 4562261 h 4766245"/>
              <a:gd name="connsiteX0" fmla="*/ 10088212 w 10088244"/>
              <a:gd name="connsiteY0" fmla="*/ 4562261 h 4696800"/>
              <a:gd name="connsiteX1" fmla="*/ 0 w 10088244"/>
              <a:gd name="connsiteY1" fmla="*/ 3573310 h 4696800"/>
              <a:gd name="connsiteX2" fmla="*/ 6414872 w 10088244"/>
              <a:gd name="connsiteY2" fmla="*/ 0 h 4696800"/>
              <a:gd name="connsiteX3" fmla="*/ 10088212 w 10088244"/>
              <a:gd name="connsiteY3" fmla="*/ 4562261 h 4696800"/>
              <a:gd name="connsiteX0" fmla="*/ 10088212 w 10088244"/>
              <a:gd name="connsiteY0" fmla="*/ 4562261 h 4562291"/>
              <a:gd name="connsiteX1" fmla="*/ 0 w 10088244"/>
              <a:gd name="connsiteY1" fmla="*/ 3573310 h 4562291"/>
              <a:gd name="connsiteX2" fmla="*/ 6414872 w 10088244"/>
              <a:gd name="connsiteY2" fmla="*/ 0 h 4562291"/>
              <a:gd name="connsiteX3" fmla="*/ 10088212 w 10088244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  <a:gd name="connsiteX0" fmla="*/ 10088212 w 10088212"/>
              <a:gd name="connsiteY0" fmla="*/ 4562261 h 4562291"/>
              <a:gd name="connsiteX1" fmla="*/ 0 w 10088212"/>
              <a:gd name="connsiteY1" fmla="*/ 3573310 h 4562291"/>
              <a:gd name="connsiteX2" fmla="*/ 6414872 w 10088212"/>
              <a:gd name="connsiteY2" fmla="*/ 0 h 4562291"/>
              <a:gd name="connsiteX3" fmla="*/ 10088212 w 10088212"/>
              <a:gd name="connsiteY3" fmla="*/ 4562261 h 4562291"/>
              <a:gd name="connsiteX0" fmla="*/ 11690133 w 11690133"/>
              <a:gd name="connsiteY0" fmla="*/ 3142870 h 3573497"/>
              <a:gd name="connsiteX1" fmla="*/ 0 w 11690133"/>
              <a:gd name="connsiteY1" fmla="*/ 3573310 h 3573497"/>
              <a:gd name="connsiteX2" fmla="*/ 6414872 w 11690133"/>
              <a:gd name="connsiteY2" fmla="*/ 0 h 3573497"/>
              <a:gd name="connsiteX3" fmla="*/ 11690133 w 11690133"/>
              <a:gd name="connsiteY3" fmla="*/ 3142870 h 3573497"/>
              <a:gd name="connsiteX0" fmla="*/ 10674831 w 10674831"/>
              <a:gd name="connsiteY0" fmla="*/ 3142870 h 4001901"/>
              <a:gd name="connsiteX1" fmla="*/ 0 w 10674831"/>
              <a:gd name="connsiteY1" fmla="*/ 4001806 h 4001901"/>
              <a:gd name="connsiteX2" fmla="*/ 5399570 w 10674831"/>
              <a:gd name="connsiteY2" fmla="*/ 0 h 4001901"/>
              <a:gd name="connsiteX3" fmla="*/ 10674831 w 10674831"/>
              <a:gd name="connsiteY3" fmla="*/ 3142870 h 4001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74831" h="4001901">
                <a:moveTo>
                  <a:pt x="10674831" y="3142870"/>
                </a:moveTo>
                <a:cubicBezTo>
                  <a:pt x="10677394" y="3149242"/>
                  <a:pt x="59447" y="4012317"/>
                  <a:pt x="0" y="4001806"/>
                </a:cubicBezTo>
                <a:lnTo>
                  <a:pt x="5399570" y="0"/>
                </a:lnTo>
                <a:cubicBezTo>
                  <a:pt x="5375572" y="9117"/>
                  <a:pt x="10664987" y="3142681"/>
                  <a:pt x="10674831" y="314287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l">
              <a:defRPr lang="en-US" b="0" dirty="0">
                <a:solidFill>
                  <a:schemeClr val="bg2"/>
                </a:solidFill>
                <a:ea typeface="Arial Regular" charset="0"/>
                <a:cs typeface="Arial Regular" charset="0"/>
              </a:defRPr>
            </a:lvl1pPr>
          </a:lstStyle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r>
              <a:rPr lang="en-US"/>
              <a:t> </a:t>
            </a:r>
          </a:p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endParaRPr lang="en-US"/>
          </a:p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r>
              <a:rPr lang="en-US"/>
              <a:t>To insert picture, drag to placeholder</a:t>
            </a:r>
            <a:br>
              <a:rPr lang="en-US"/>
            </a:br>
            <a:r>
              <a:rPr lang="en-US"/>
              <a:t>or click icon to add.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09601" y="1865222"/>
            <a:ext cx="7794595" cy="1040973"/>
          </a:xfrm>
        </p:spPr>
        <p:txBody>
          <a:bodyPr anchor="ctr" anchorCtr="0">
            <a:no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609601" y="3061033"/>
            <a:ext cx="6279947" cy="56851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="0" i="0">
                <a:latin typeface="+mj-lt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1" y="5732143"/>
            <a:ext cx="6279947" cy="309303"/>
          </a:xfrm>
        </p:spPr>
        <p:txBody>
          <a:bodyPr>
            <a:noAutofit/>
          </a:bodyPr>
          <a:lstStyle>
            <a:lvl1pPr>
              <a:defRPr sz="1600" b="0" i="0">
                <a:latin typeface="+mn-lt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305218"/>
            <a:ext cx="1508760" cy="380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33239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151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-1787"/>
            <a:ext cx="12192000" cy="322783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</a:lstStyle>
          <a:p>
            <a:r>
              <a:rPr lang="en-US"/>
              <a:t> To insert picture, drag to placeholder or click icon to add.</a:t>
            </a:r>
          </a:p>
        </p:txBody>
      </p:sp>
      <p:sp>
        <p:nvSpPr>
          <p:cNvPr id="9" name="Parallelogram 10"/>
          <p:cNvSpPr/>
          <p:nvPr userDrawn="1"/>
        </p:nvSpPr>
        <p:spPr>
          <a:xfrm>
            <a:off x="0" y="3219964"/>
            <a:ext cx="12219093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260573"/>
            <a:ext cx="11582400" cy="393261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1025820595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4318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</a:lstStyle>
          <a:p>
            <a:r>
              <a:rPr lang="en-US"/>
              <a:t> To insert picture, drag to</a:t>
            </a:r>
            <a:br>
              <a:rPr lang="en-US"/>
            </a:br>
            <a:r>
              <a:rPr lang="en-US"/>
              <a:t>placeholder or click icon to add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525479" y="1943100"/>
            <a:ext cx="7056924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8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8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8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25480" y="666108"/>
            <a:ext cx="7056925" cy="39326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25479" y="1032386"/>
            <a:ext cx="7056925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solidFill>
                  <a:schemeClr val="tx1"/>
                </a:solidFill>
                <a:latin typeface="+mj-lt"/>
                <a:ea typeface="Arial Regular" charset="0"/>
                <a:cs typeface="Arial Regular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160241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7007352" y="3"/>
            <a:ext cx="5184648" cy="6858000"/>
          </a:xfrm>
          <a:custGeom>
            <a:avLst/>
            <a:gdLst>
              <a:gd name="connsiteX0" fmla="*/ 0 w 3488925"/>
              <a:gd name="connsiteY0" fmla="*/ 3219961 h 3219961"/>
              <a:gd name="connsiteX1" fmla="*/ 804990 w 3488925"/>
              <a:gd name="connsiteY1" fmla="*/ 0 h 3219961"/>
              <a:gd name="connsiteX2" fmla="*/ 3488925 w 3488925"/>
              <a:gd name="connsiteY2" fmla="*/ 0 h 3219961"/>
              <a:gd name="connsiteX3" fmla="*/ 2683935 w 3488925"/>
              <a:gd name="connsiteY3" fmla="*/ 3219961 h 3219961"/>
              <a:gd name="connsiteX4" fmla="*/ 0 w 3488925"/>
              <a:gd name="connsiteY4" fmla="*/ 3219961 h 3219961"/>
              <a:gd name="connsiteX0" fmla="*/ 0 w 3498443"/>
              <a:gd name="connsiteY0" fmla="*/ 3219961 h 6862193"/>
              <a:gd name="connsiteX1" fmla="*/ 804990 w 3498443"/>
              <a:gd name="connsiteY1" fmla="*/ 0 h 6862193"/>
              <a:gd name="connsiteX2" fmla="*/ 3488925 w 3498443"/>
              <a:gd name="connsiteY2" fmla="*/ 0 h 6862193"/>
              <a:gd name="connsiteX3" fmla="*/ 3498443 w 3498443"/>
              <a:gd name="connsiteY3" fmla="*/ 6862193 h 6862193"/>
              <a:gd name="connsiteX4" fmla="*/ 0 w 3498443"/>
              <a:gd name="connsiteY4" fmla="*/ 3219961 h 6862193"/>
              <a:gd name="connsiteX0" fmla="*/ 0 w 4151586"/>
              <a:gd name="connsiteY0" fmla="*/ 6877561 h 6877561"/>
              <a:gd name="connsiteX1" fmla="*/ 1458133 w 4151586"/>
              <a:gd name="connsiteY1" fmla="*/ 0 h 6877561"/>
              <a:gd name="connsiteX2" fmla="*/ 4142068 w 4151586"/>
              <a:gd name="connsiteY2" fmla="*/ 0 h 6877561"/>
              <a:gd name="connsiteX3" fmla="*/ 4151586 w 4151586"/>
              <a:gd name="connsiteY3" fmla="*/ 6862193 h 6877561"/>
              <a:gd name="connsiteX4" fmla="*/ 0 w 4151586"/>
              <a:gd name="connsiteY4" fmla="*/ 6877561 h 6877561"/>
              <a:gd name="connsiteX0" fmla="*/ 0 w 4151586"/>
              <a:gd name="connsiteY0" fmla="*/ 6877561 h 6877561"/>
              <a:gd name="connsiteX1" fmla="*/ 4142068 w 4151586"/>
              <a:gd name="connsiteY1" fmla="*/ 0 h 6877561"/>
              <a:gd name="connsiteX2" fmla="*/ 4151586 w 4151586"/>
              <a:gd name="connsiteY2" fmla="*/ 6862193 h 6877561"/>
              <a:gd name="connsiteX3" fmla="*/ 0 w 4151586"/>
              <a:gd name="connsiteY3" fmla="*/ 6877561 h 6877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51586" h="6877561">
                <a:moveTo>
                  <a:pt x="0" y="6877561"/>
                </a:moveTo>
                <a:lnTo>
                  <a:pt x="4142068" y="0"/>
                </a:lnTo>
                <a:cubicBezTo>
                  <a:pt x="4145241" y="2287398"/>
                  <a:pt x="4148413" y="4574795"/>
                  <a:pt x="4151586" y="6862193"/>
                </a:cubicBezTo>
                <a:lnTo>
                  <a:pt x="0" y="6877561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</a:lstStyle>
          <a:p>
            <a:r>
              <a:rPr lang="en-US"/>
              <a:t> To insert picture,</a:t>
            </a:r>
            <a:br>
              <a:rPr lang="en-US"/>
            </a:br>
            <a:r>
              <a:rPr lang="en-US"/>
              <a:t>drag to placeholder</a:t>
            </a:r>
            <a:br>
              <a:rPr lang="en-US"/>
            </a:br>
            <a:r>
              <a:rPr lang="en-US"/>
              <a:t>or click icon to add.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51644" y="716001"/>
            <a:ext cx="5687627" cy="1150979"/>
          </a:xfrm>
        </p:spPr>
        <p:txBody>
          <a:bodyPr/>
          <a:lstStyle>
            <a:lvl1pPr>
              <a:defRPr sz="36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3883724440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arallelogram 10"/>
          <p:cNvSpPr/>
          <p:nvPr userDrawn="1"/>
        </p:nvSpPr>
        <p:spPr>
          <a:xfrm flipV="1">
            <a:off x="2" y="-4"/>
            <a:ext cx="2201663" cy="685800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 rot="16200000">
            <a:off x="-2206485" y="2556793"/>
            <a:ext cx="6249116" cy="15528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9900" b="0" i="0" spc="30" baseline="0">
                <a:solidFill>
                  <a:schemeClr val="accent6">
                    <a:lumMod val="60000"/>
                    <a:lumOff val="40000"/>
                  </a:schemeClr>
                </a:solidFill>
                <a:latin typeface="Arial Black" panose="020B0A04020102020204" pitchFamily="34" charset="0"/>
                <a:ea typeface="Neue Haas Grotesk Display Std 55 Roman" charset="0"/>
                <a:cs typeface="Arial Bold" panose="020B0704020202020204" pitchFamily="34" charset="0"/>
              </a:rPr>
              <a:t>AGENDA</a:t>
            </a:r>
          </a:p>
        </p:txBody>
      </p:sp>
      <p:pic>
        <p:nvPicPr>
          <p:cNvPr id="2" name="Picture 1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7" y="6315184"/>
            <a:ext cx="1097280" cy="277523"/>
          </a:xfrm>
          <a:prstGeom prst="rect">
            <a:avLst/>
          </a:prstGeom>
        </p:spPr>
      </p:pic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3326185486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sp>
        <p:nvSpPr>
          <p:cNvPr id="35" name="Parallelogram 10"/>
          <p:cNvSpPr/>
          <p:nvPr userDrawn="1"/>
        </p:nvSpPr>
        <p:spPr>
          <a:xfrm>
            <a:off x="-23050" y="1868601"/>
            <a:ext cx="7065627" cy="887803"/>
          </a:xfrm>
          <a:custGeom>
            <a:avLst/>
            <a:gdLst>
              <a:gd name="connsiteX0" fmla="*/ 0 w 6776720"/>
              <a:gd name="connsiteY0" fmla="*/ 1159329 h 1159329"/>
              <a:gd name="connsiteX1" fmla="*/ 430552 w 6776720"/>
              <a:gd name="connsiteY1" fmla="*/ 0 h 1159329"/>
              <a:gd name="connsiteX2" fmla="*/ 6776720 w 6776720"/>
              <a:gd name="connsiteY2" fmla="*/ 0 h 1159329"/>
              <a:gd name="connsiteX3" fmla="*/ 6346168 w 6776720"/>
              <a:gd name="connsiteY3" fmla="*/ 1159329 h 1159329"/>
              <a:gd name="connsiteX4" fmla="*/ 0 w 6776720"/>
              <a:gd name="connsiteY4" fmla="*/ 1159329 h 1159329"/>
              <a:gd name="connsiteX0" fmla="*/ 0 w 6776720"/>
              <a:gd name="connsiteY0" fmla="*/ 1169489 h 1169489"/>
              <a:gd name="connsiteX1" fmla="*/ 24152 w 6776720"/>
              <a:gd name="connsiteY1" fmla="*/ 0 h 1169489"/>
              <a:gd name="connsiteX2" fmla="*/ 6776720 w 6776720"/>
              <a:gd name="connsiteY2" fmla="*/ 10160 h 1169489"/>
              <a:gd name="connsiteX3" fmla="*/ 6346168 w 6776720"/>
              <a:gd name="connsiteY3" fmla="*/ 1169489 h 1169489"/>
              <a:gd name="connsiteX4" fmla="*/ 0 w 6776720"/>
              <a:gd name="connsiteY4" fmla="*/ 1169489 h 1169489"/>
              <a:gd name="connsiteX0" fmla="*/ 171663 w 6948383"/>
              <a:gd name="connsiteY0" fmla="*/ 1193355 h 1193355"/>
              <a:gd name="connsiteX1" fmla="*/ 0 w 6948383"/>
              <a:gd name="connsiteY1" fmla="*/ 0 h 1193355"/>
              <a:gd name="connsiteX2" fmla="*/ 6948383 w 6948383"/>
              <a:gd name="connsiteY2" fmla="*/ 34026 h 1193355"/>
              <a:gd name="connsiteX3" fmla="*/ 6517831 w 6948383"/>
              <a:gd name="connsiteY3" fmla="*/ 1193355 h 1193355"/>
              <a:gd name="connsiteX4" fmla="*/ 171663 w 6948383"/>
              <a:gd name="connsiteY4" fmla="*/ 1193355 h 1193355"/>
              <a:gd name="connsiteX0" fmla="*/ 21921 w 6948383"/>
              <a:gd name="connsiteY0" fmla="*/ 1169488 h 1193355"/>
              <a:gd name="connsiteX1" fmla="*/ 0 w 6948383"/>
              <a:gd name="connsiteY1" fmla="*/ 0 h 1193355"/>
              <a:gd name="connsiteX2" fmla="*/ 6948383 w 6948383"/>
              <a:gd name="connsiteY2" fmla="*/ 34026 h 1193355"/>
              <a:gd name="connsiteX3" fmla="*/ 6517831 w 6948383"/>
              <a:gd name="connsiteY3" fmla="*/ 1193355 h 1193355"/>
              <a:gd name="connsiteX4" fmla="*/ 21921 w 6948383"/>
              <a:gd name="connsiteY4" fmla="*/ 1169488 h 1193355"/>
              <a:gd name="connsiteX0" fmla="*/ 0 w 6926462"/>
              <a:gd name="connsiteY0" fmla="*/ 1169488 h 1193355"/>
              <a:gd name="connsiteX1" fmla="*/ 221152 w 6926462"/>
              <a:gd name="connsiteY1" fmla="*/ 0 h 1193355"/>
              <a:gd name="connsiteX2" fmla="*/ 6926462 w 6926462"/>
              <a:gd name="connsiteY2" fmla="*/ 34026 h 1193355"/>
              <a:gd name="connsiteX3" fmla="*/ 6495910 w 6926462"/>
              <a:gd name="connsiteY3" fmla="*/ 1193355 h 1193355"/>
              <a:gd name="connsiteX4" fmla="*/ 0 w 6926462"/>
              <a:gd name="connsiteY4" fmla="*/ 1169488 h 1193355"/>
              <a:gd name="connsiteX0" fmla="*/ 2475 w 6705310"/>
              <a:gd name="connsiteY0" fmla="*/ 1179817 h 1193355"/>
              <a:gd name="connsiteX1" fmla="*/ 0 w 6705310"/>
              <a:gd name="connsiteY1" fmla="*/ 0 h 1193355"/>
              <a:gd name="connsiteX2" fmla="*/ 6705310 w 6705310"/>
              <a:gd name="connsiteY2" fmla="*/ 34026 h 1193355"/>
              <a:gd name="connsiteX3" fmla="*/ 6274758 w 6705310"/>
              <a:gd name="connsiteY3" fmla="*/ 1193355 h 1193355"/>
              <a:gd name="connsiteX4" fmla="*/ 2475 w 6705310"/>
              <a:gd name="connsiteY4" fmla="*/ 1179817 h 1193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5310" h="1193355">
                <a:moveTo>
                  <a:pt x="2475" y="1179817"/>
                </a:moveTo>
                <a:lnTo>
                  <a:pt x="0" y="0"/>
                </a:lnTo>
                <a:lnTo>
                  <a:pt x="6705310" y="34026"/>
                </a:lnTo>
                <a:lnTo>
                  <a:pt x="6274758" y="1193355"/>
                </a:lnTo>
                <a:lnTo>
                  <a:pt x="2475" y="117981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315851" y="1943100"/>
            <a:ext cx="6340832" cy="813302"/>
          </a:xfrm>
        </p:spPr>
        <p:txBody>
          <a:bodyPr anchor="ctr"/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2" y="0"/>
            <a:ext cx="12192001" cy="2447270"/>
          </a:xfrm>
          <a:custGeom>
            <a:avLst/>
            <a:gdLst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0 w 12036391"/>
              <a:gd name="connsiteY3" fmla="*/ 3598428 h 3598428"/>
              <a:gd name="connsiteX4" fmla="*/ 0 w 12036391"/>
              <a:gd name="connsiteY4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412340 w 12036391"/>
              <a:gd name="connsiteY3" fmla="*/ 3590561 h 3598428"/>
              <a:gd name="connsiteX4" fmla="*/ 0 w 12036391"/>
              <a:gd name="connsiteY4" fmla="*/ 3598428 h 3598428"/>
              <a:gd name="connsiteX5" fmla="*/ 0 w 12036391"/>
              <a:gd name="connsiteY5" fmla="*/ 0 h 3598428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0 w 12036391"/>
              <a:gd name="connsiteY5" fmla="*/ 3598428 h 3600393"/>
              <a:gd name="connsiteX6" fmla="*/ 0 w 12036391"/>
              <a:gd name="connsiteY6" fmla="*/ 0 h 3600393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0 w 12036391"/>
              <a:gd name="connsiteY5" fmla="*/ 3598428 h 3600393"/>
              <a:gd name="connsiteX6" fmla="*/ 0 w 12036391"/>
              <a:gd name="connsiteY6" fmla="*/ 0 h 3600393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9832 w 12036391"/>
              <a:gd name="connsiteY5" fmla="*/ 3273964 h 3600393"/>
              <a:gd name="connsiteX6" fmla="*/ 0 w 12036391"/>
              <a:gd name="connsiteY6" fmla="*/ 0 h 3600393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19664 w 12036391"/>
              <a:gd name="connsiteY5" fmla="*/ 3155977 h 3600393"/>
              <a:gd name="connsiteX6" fmla="*/ 0 w 12036391"/>
              <a:gd name="connsiteY6" fmla="*/ 0 h 3600393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412340 w 12036391"/>
              <a:gd name="connsiteY3" fmla="*/ 3590561 h 3598428"/>
              <a:gd name="connsiteX4" fmla="*/ 5773243 w 12036391"/>
              <a:gd name="connsiteY4" fmla="*/ 279414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5773243 w 12036391"/>
              <a:gd name="connsiteY4" fmla="*/ 279414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6697475 w 12036391"/>
              <a:gd name="connsiteY4" fmla="*/ 2823644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7346404 w 12036391"/>
              <a:gd name="connsiteY4" fmla="*/ 284330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7031772 w 12036391"/>
              <a:gd name="connsiteY4" fmla="*/ 271548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6933450 w 12036391"/>
              <a:gd name="connsiteY4" fmla="*/ 2833476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34396 w 12037337"/>
              <a:gd name="connsiteY4" fmla="*/ 2833476 h 3598428"/>
              <a:gd name="connsiteX5" fmla="*/ 945 w 12037337"/>
              <a:gd name="connsiteY5" fmla="*/ 2831512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34396 w 12037337"/>
              <a:gd name="connsiteY4" fmla="*/ 2843308 h 3598428"/>
              <a:gd name="connsiteX5" fmla="*/ 945 w 12037337"/>
              <a:gd name="connsiteY5" fmla="*/ 2831512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24564 w 12037337"/>
              <a:gd name="connsiteY4" fmla="*/ 2853140 h 3598428"/>
              <a:gd name="connsiteX5" fmla="*/ 945 w 12037337"/>
              <a:gd name="connsiteY5" fmla="*/ 2831512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24564 w 12037337"/>
              <a:gd name="connsiteY4" fmla="*/ 285314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37337" h="3598428">
                <a:moveTo>
                  <a:pt x="946" y="0"/>
                </a:moveTo>
                <a:lnTo>
                  <a:pt x="12037337" y="0"/>
                </a:lnTo>
                <a:lnTo>
                  <a:pt x="12037337" y="3598428"/>
                </a:lnTo>
                <a:lnTo>
                  <a:pt x="6649260" y="3590561"/>
                </a:lnTo>
                <a:lnTo>
                  <a:pt x="6924564" y="2853140"/>
                </a:lnTo>
                <a:lnTo>
                  <a:pt x="945" y="2851177"/>
                </a:lnTo>
                <a:cubicBezTo>
                  <a:pt x="-2332" y="1759856"/>
                  <a:pt x="4223" y="1091321"/>
                  <a:pt x="946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</a:lstStyle>
          <a:p>
            <a:r>
              <a:rPr lang="en-US"/>
              <a:t> To insert picture, drag to placeholder or click icon to add.</a:t>
            </a:r>
          </a:p>
        </p:txBody>
      </p:sp>
      <p:sp>
        <p:nvSpPr>
          <p:cNvPr id="39" name="Content Placeholder 2"/>
          <p:cNvSpPr>
            <a:spLocks noGrp="1"/>
          </p:cNvSpPr>
          <p:nvPr>
            <p:ph idx="1"/>
          </p:nvPr>
        </p:nvSpPr>
        <p:spPr>
          <a:xfrm>
            <a:off x="609600" y="3012894"/>
            <a:ext cx="5181600" cy="3246392"/>
          </a:xfrm>
        </p:spPr>
        <p:txBody>
          <a:bodyPr>
            <a:noAutofit/>
          </a:bodyPr>
          <a:lstStyle>
            <a:lvl1pPr marL="0" indent="0">
              <a:tabLst>
                <a:tab pos="914400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tabLst>
                <a:tab pos="914400" algn="l"/>
              </a:tabLst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1200"/>
              </a:spcAft>
              <a:buNone/>
              <a:tabLst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tabLst/>
              <a:defRPr sz="12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Content Placeholder 2"/>
          <p:cNvSpPr>
            <a:spLocks noGrp="1"/>
          </p:cNvSpPr>
          <p:nvPr>
            <p:ph idx="14"/>
          </p:nvPr>
        </p:nvSpPr>
        <p:spPr>
          <a:xfrm>
            <a:off x="6400800" y="3012894"/>
            <a:ext cx="5181600" cy="3246392"/>
          </a:xfrm>
        </p:spPr>
        <p:txBody>
          <a:bodyPr>
            <a:noAutofit/>
          </a:bodyPr>
          <a:lstStyle>
            <a:lvl1pPr marL="0" indent="0">
              <a:tabLst>
                <a:tab pos="914400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tabLst>
                <a:tab pos="914400" algn="l"/>
              </a:tabLst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1200"/>
              </a:spcAft>
              <a:buNone/>
              <a:tabLst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tabLst/>
              <a:defRPr sz="1200" i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2229714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sp>
        <p:nvSpPr>
          <p:cNvPr id="6" name="Parallelogram 10"/>
          <p:cNvSpPr/>
          <p:nvPr userDrawn="1"/>
        </p:nvSpPr>
        <p:spPr>
          <a:xfrm>
            <a:off x="2568" y="2849336"/>
            <a:ext cx="9435817" cy="1046470"/>
          </a:xfrm>
          <a:custGeom>
            <a:avLst/>
            <a:gdLst>
              <a:gd name="connsiteX0" fmla="*/ 0 w 6776720"/>
              <a:gd name="connsiteY0" fmla="*/ 1159329 h 1159329"/>
              <a:gd name="connsiteX1" fmla="*/ 430552 w 6776720"/>
              <a:gd name="connsiteY1" fmla="*/ 0 h 1159329"/>
              <a:gd name="connsiteX2" fmla="*/ 6776720 w 6776720"/>
              <a:gd name="connsiteY2" fmla="*/ 0 h 1159329"/>
              <a:gd name="connsiteX3" fmla="*/ 6346168 w 6776720"/>
              <a:gd name="connsiteY3" fmla="*/ 1159329 h 1159329"/>
              <a:gd name="connsiteX4" fmla="*/ 0 w 6776720"/>
              <a:gd name="connsiteY4" fmla="*/ 1159329 h 1159329"/>
              <a:gd name="connsiteX0" fmla="*/ 0 w 6776720"/>
              <a:gd name="connsiteY0" fmla="*/ 1169489 h 1169489"/>
              <a:gd name="connsiteX1" fmla="*/ 24152 w 6776720"/>
              <a:gd name="connsiteY1" fmla="*/ 0 h 1169489"/>
              <a:gd name="connsiteX2" fmla="*/ 6776720 w 6776720"/>
              <a:gd name="connsiteY2" fmla="*/ 10160 h 1169489"/>
              <a:gd name="connsiteX3" fmla="*/ 6346168 w 6776720"/>
              <a:gd name="connsiteY3" fmla="*/ 1169489 h 1169489"/>
              <a:gd name="connsiteX4" fmla="*/ 0 w 6776720"/>
              <a:gd name="connsiteY4" fmla="*/ 1169489 h 1169489"/>
              <a:gd name="connsiteX0" fmla="*/ 78680 w 6855400"/>
              <a:gd name="connsiteY0" fmla="*/ 1159329 h 1159329"/>
              <a:gd name="connsiteX1" fmla="*/ 0 w 6855400"/>
              <a:gd name="connsiteY1" fmla="*/ 7595 h 1159329"/>
              <a:gd name="connsiteX2" fmla="*/ 6855400 w 6855400"/>
              <a:gd name="connsiteY2" fmla="*/ 0 h 1159329"/>
              <a:gd name="connsiteX3" fmla="*/ 6424848 w 6855400"/>
              <a:gd name="connsiteY3" fmla="*/ 1159329 h 1159329"/>
              <a:gd name="connsiteX4" fmla="*/ 78680 w 6855400"/>
              <a:gd name="connsiteY4" fmla="*/ 1159329 h 1159329"/>
              <a:gd name="connsiteX0" fmla="*/ 10126 w 6855400"/>
              <a:gd name="connsiteY0" fmla="*/ 1150451 h 1159329"/>
              <a:gd name="connsiteX1" fmla="*/ 0 w 6855400"/>
              <a:gd name="connsiteY1" fmla="*/ 7595 h 1159329"/>
              <a:gd name="connsiteX2" fmla="*/ 6855400 w 6855400"/>
              <a:gd name="connsiteY2" fmla="*/ 0 h 1159329"/>
              <a:gd name="connsiteX3" fmla="*/ 6424848 w 6855400"/>
              <a:gd name="connsiteY3" fmla="*/ 1159329 h 1159329"/>
              <a:gd name="connsiteX4" fmla="*/ 10126 w 6855400"/>
              <a:gd name="connsiteY4" fmla="*/ 1150451 h 1159329"/>
              <a:gd name="connsiteX0" fmla="*/ 10126 w 6870234"/>
              <a:gd name="connsiteY0" fmla="*/ 1150451 h 1159329"/>
              <a:gd name="connsiteX1" fmla="*/ 0 w 6870234"/>
              <a:gd name="connsiteY1" fmla="*/ 7595 h 1159329"/>
              <a:gd name="connsiteX2" fmla="*/ 6870234 w 6870234"/>
              <a:gd name="connsiteY2" fmla="*/ 0 h 1159329"/>
              <a:gd name="connsiteX3" fmla="*/ 6424848 w 6870234"/>
              <a:gd name="connsiteY3" fmla="*/ 1159329 h 1159329"/>
              <a:gd name="connsiteX4" fmla="*/ 10126 w 6870234"/>
              <a:gd name="connsiteY4" fmla="*/ 1150451 h 1159329"/>
              <a:gd name="connsiteX0" fmla="*/ 406 w 6860514"/>
              <a:gd name="connsiteY0" fmla="*/ 1150451 h 1159329"/>
              <a:gd name="connsiteX1" fmla="*/ 12531 w 6860514"/>
              <a:gd name="connsiteY1" fmla="*/ 7595 h 1159329"/>
              <a:gd name="connsiteX2" fmla="*/ 6860514 w 6860514"/>
              <a:gd name="connsiteY2" fmla="*/ 0 h 1159329"/>
              <a:gd name="connsiteX3" fmla="*/ 6415128 w 6860514"/>
              <a:gd name="connsiteY3" fmla="*/ 1159329 h 1159329"/>
              <a:gd name="connsiteX4" fmla="*/ 406 w 6860514"/>
              <a:gd name="connsiteY4" fmla="*/ 1150451 h 1159329"/>
              <a:gd name="connsiteX0" fmla="*/ 17544 w 6847983"/>
              <a:gd name="connsiteY0" fmla="*/ 1150451 h 1159329"/>
              <a:gd name="connsiteX1" fmla="*/ 0 w 6847983"/>
              <a:gd name="connsiteY1" fmla="*/ 7595 h 1159329"/>
              <a:gd name="connsiteX2" fmla="*/ 6847983 w 6847983"/>
              <a:gd name="connsiteY2" fmla="*/ 0 h 1159329"/>
              <a:gd name="connsiteX3" fmla="*/ 6402597 w 6847983"/>
              <a:gd name="connsiteY3" fmla="*/ 1159329 h 1159329"/>
              <a:gd name="connsiteX4" fmla="*/ 17544 w 6847983"/>
              <a:gd name="connsiteY4" fmla="*/ 1150451 h 1159329"/>
              <a:gd name="connsiteX0" fmla="*/ 630 w 6831069"/>
              <a:gd name="connsiteY0" fmla="*/ 1150451 h 1159329"/>
              <a:gd name="connsiteX1" fmla="*/ 5337 w 6831069"/>
              <a:gd name="connsiteY1" fmla="*/ 7595 h 1159329"/>
              <a:gd name="connsiteX2" fmla="*/ 6831069 w 6831069"/>
              <a:gd name="connsiteY2" fmla="*/ 0 h 1159329"/>
              <a:gd name="connsiteX3" fmla="*/ 6385683 w 6831069"/>
              <a:gd name="connsiteY3" fmla="*/ 1159329 h 1159329"/>
              <a:gd name="connsiteX4" fmla="*/ 630 w 6831069"/>
              <a:gd name="connsiteY4" fmla="*/ 1150451 h 1159329"/>
              <a:gd name="connsiteX0" fmla="*/ 630 w 6831069"/>
              <a:gd name="connsiteY0" fmla="*/ 1150451 h 1159329"/>
              <a:gd name="connsiteX1" fmla="*/ 5337 w 6831069"/>
              <a:gd name="connsiteY1" fmla="*/ 7595 h 1159329"/>
              <a:gd name="connsiteX2" fmla="*/ 6831069 w 6831069"/>
              <a:gd name="connsiteY2" fmla="*/ 0 h 1159329"/>
              <a:gd name="connsiteX3" fmla="*/ 6385683 w 6831069"/>
              <a:gd name="connsiteY3" fmla="*/ 1159329 h 1159329"/>
              <a:gd name="connsiteX4" fmla="*/ 630 w 6831069"/>
              <a:gd name="connsiteY4" fmla="*/ 1150451 h 1159329"/>
              <a:gd name="connsiteX0" fmla="*/ 630 w 6831069"/>
              <a:gd name="connsiteY0" fmla="*/ 1150451 h 1150878"/>
              <a:gd name="connsiteX1" fmla="*/ 5337 w 6831069"/>
              <a:gd name="connsiteY1" fmla="*/ 7595 h 1150878"/>
              <a:gd name="connsiteX2" fmla="*/ 6831069 w 6831069"/>
              <a:gd name="connsiteY2" fmla="*/ 0 h 1150878"/>
              <a:gd name="connsiteX3" fmla="*/ 6415351 w 6831069"/>
              <a:gd name="connsiteY3" fmla="*/ 1150878 h 1150878"/>
              <a:gd name="connsiteX4" fmla="*/ 630 w 6831069"/>
              <a:gd name="connsiteY4" fmla="*/ 1150451 h 1150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31069" h="1150878">
                <a:moveTo>
                  <a:pt x="630" y="1150451"/>
                </a:moveTo>
                <a:cubicBezTo>
                  <a:pt x="-2745" y="769499"/>
                  <a:pt x="8712" y="388547"/>
                  <a:pt x="5337" y="7595"/>
                </a:cubicBezTo>
                <a:lnTo>
                  <a:pt x="6831069" y="0"/>
                </a:lnTo>
                <a:lnTo>
                  <a:pt x="6415351" y="1150878"/>
                </a:lnTo>
                <a:lnTo>
                  <a:pt x="630" y="115045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15852" y="3227584"/>
            <a:ext cx="8828149" cy="393261"/>
          </a:xfrm>
        </p:spPr>
        <p:txBody>
          <a:bodyPr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959" y="-1787"/>
            <a:ext cx="12191044" cy="3598428"/>
          </a:xfrm>
          <a:custGeom>
            <a:avLst/>
            <a:gdLst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0 w 12036391"/>
              <a:gd name="connsiteY3" fmla="*/ 3598428 h 3598428"/>
              <a:gd name="connsiteX4" fmla="*/ 0 w 12036391"/>
              <a:gd name="connsiteY4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412340 w 12036391"/>
              <a:gd name="connsiteY3" fmla="*/ 3590561 h 3598428"/>
              <a:gd name="connsiteX4" fmla="*/ 0 w 12036391"/>
              <a:gd name="connsiteY4" fmla="*/ 3598428 h 3598428"/>
              <a:gd name="connsiteX5" fmla="*/ 0 w 12036391"/>
              <a:gd name="connsiteY5" fmla="*/ 0 h 3598428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0 w 12036391"/>
              <a:gd name="connsiteY5" fmla="*/ 3598428 h 3600393"/>
              <a:gd name="connsiteX6" fmla="*/ 0 w 12036391"/>
              <a:gd name="connsiteY6" fmla="*/ 0 h 3600393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0 w 12036391"/>
              <a:gd name="connsiteY5" fmla="*/ 3598428 h 3600393"/>
              <a:gd name="connsiteX6" fmla="*/ 0 w 12036391"/>
              <a:gd name="connsiteY6" fmla="*/ 0 h 3600393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9832 w 12036391"/>
              <a:gd name="connsiteY5" fmla="*/ 3273964 h 3600393"/>
              <a:gd name="connsiteX6" fmla="*/ 0 w 12036391"/>
              <a:gd name="connsiteY6" fmla="*/ 0 h 3600393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19664 w 12036391"/>
              <a:gd name="connsiteY5" fmla="*/ 3155977 h 3600393"/>
              <a:gd name="connsiteX6" fmla="*/ 0 w 12036391"/>
              <a:gd name="connsiteY6" fmla="*/ 0 h 3600393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412340 w 12036391"/>
              <a:gd name="connsiteY3" fmla="*/ 3590561 h 3598428"/>
              <a:gd name="connsiteX4" fmla="*/ 5773243 w 12036391"/>
              <a:gd name="connsiteY4" fmla="*/ 279414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5773243 w 12036391"/>
              <a:gd name="connsiteY4" fmla="*/ 279414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6697475 w 12036391"/>
              <a:gd name="connsiteY4" fmla="*/ 2823644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7346404 w 12036391"/>
              <a:gd name="connsiteY4" fmla="*/ 284330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7031772 w 12036391"/>
              <a:gd name="connsiteY4" fmla="*/ 271548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6933450 w 12036391"/>
              <a:gd name="connsiteY4" fmla="*/ 2833476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34396 w 12037337"/>
              <a:gd name="connsiteY4" fmla="*/ 2833476 h 3598428"/>
              <a:gd name="connsiteX5" fmla="*/ 945 w 12037337"/>
              <a:gd name="connsiteY5" fmla="*/ 2831512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34396 w 12037337"/>
              <a:gd name="connsiteY4" fmla="*/ 2843308 h 3598428"/>
              <a:gd name="connsiteX5" fmla="*/ 945 w 12037337"/>
              <a:gd name="connsiteY5" fmla="*/ 2831512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24564 w 12037337"/>
              <a:gd name="connsiteY4" fmla="*/ 2853140 h 3598428"/>
              <a:gd name="connsiteX5" fmla="*/ 945 w 12037337"/>
              <a:gd name="connsiteY5" fmla="*/ 2831512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24564 w 12037337"/>
              <a:gd name="connsiteY4" fmla="*/ 285314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24564 w 12037337"/>
              <a:gd name="connsiteY4" fmla="*/ 285314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8883870 w 12037337"/>
              <a:gd name="connsiteY3" fmla="*/ 3598181 h 3598428"/>
              <a:gd name="connsiteX4" fmla="*/ 6924564 w 12037337"/>
              <a:gd name="connsiteY4" fmla="*/ 285314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8883870 w 12037337"/>
              <a:gd name="connsiteY3" fmla="*/ 3598181 h 3598428"/>
              <a:gd name="connsiteX4" fmla="*/ 9761193 w 12037337"/>
              <a:gd name="connsiteY4" fmla="*/ 289124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8883870 w 12037337"/>
              <a:gd name="connsiteY3" fmla="*/ 3598181 h 3598428"/>
              <a:gd name="connsiteX4" fmla="*/ 9291823 w 12037337"/>
              <a:gd name="connsiteY4" fmla="*/ 287600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8914481 w 12037337"/>
              <a:gd name="connsiteY3" fmla="*/ 3598181 h 3598428"/>
              <a:gd name="connsiteX4" fmla="*/ 9291823 w 12037337"/>
              <a:gd name="connsiteY4" fmla="*/ 287600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-1 w 12036390"/>
              <a:gd name="connsiteY0" fmla="*/ 0 h 3598428"/>
              <a:gd name="connsiteX1" fmla="*/ 12036390 w 12036390"/>
              <a:gd name="connsiteY1" fmla="*/ 0 h 3598428"/>
              <a:gd name="connsiteX2" fmla="*/ 12036390 w 12036390"/>
              <a:gd name="connsiteY2" fmla="*/ 3598428 h 3598428"/>
              <a:gd name="connsiteX3" fmla="*/ 8913534 w 12036390"/>
              <a:gd name="connsiteY3" fmla="*/ 3598181 h 3598428"/>
              <a:gd name="connsiteX4" fmla="*/ 9290876 w 12036390"/>
              <a:gd name="connsiteY4" fmla="*/ 2876000 h 3598428"/>
              <a:gd name="connsiteX5" fmla="*/ 11685 w 12036390"/>
              <a:gd name="connsiteY5" fmla="*/ 2868932 h 3598428"/>
              <a:gd name="connsiteX6" fmla="*/ -1 w 12036390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8913535 w 12036391"/>
              <a:gd name="connsiteY3" fmla="*/ 3598181 h 3598428"/>
              <a:gd name="connsiteX4" fmla="*/ 9290877 w 12036391"/>
              <a:gd name="connsiteY4" fmla="*/ 2876000 h 3598428"/>
              <a:gd name="connsiteX5" fmla="*/ 1570 w 12036391"/>
              <a:gd name="connsiteY5" fmla="*/ 2868932 h 3598428"/>
              <a:gd name="connsiteX6" fmla="*/ 0 w 12036391"/>
              <a:gd name="connsiteY6" fmla="*/ 0 h 3598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36391" h="3598428">
                <a:moveTo>
                  <a:pt x="0" y="0"/>
                </a:moveTo>
                <a:lnTo>
                  <a:pt x="12036391" y="0"/>
                </a:lnTo>
                <a:lnTo>
                  <a:pt x="12036391" y="3598428"/>
                </a:lnTo>
                <a:lnTo>
                  <a:pt x="8913535" y="3598181"/>
                </a:lnTo>
                <a:lnTo>
                  <a:pt x="9290877" y="2876000"/>
                </a:lnTo>
                <a:lnTo>
                  <a:pt x="1570" y="2868932"/>
                </a:lnTo>
                <a:cubicBezTo>
                  <a:pt x="-1707" y="1777611"/>
                  <a:pt x="3277" y="1091321"/>
                  <a:pt x="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</a:lstStyle>
          <a:p>
            <a:r>
              <a:rPr lang="en-US"/>
              <a:t> To insert picture, drag to placeholder or click icon to add.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8033055" y="4736575"/>
            <a:ext cx="3548837" cy="1435627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US" sz="1400" b="0" spc="30" smtClean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  <a:lvl2pPr>
              <a:defRPr lang="en-US" sz="1800" smtClean="0">
                <a:ea typeface="+mn-ea"/>
                <a:cs typeface="+mn-cs"/>
              </a:defRPr>
            </a:lvl2pPr>
            <a:lvl3pPr>
              <a:defRPr lang="en-US" sz="1800" smtClean="0">
                <a:ea typeface="+mn-ea"/>
                <a:cs typeface="+mn-cs"/>
              </a:defRPr>
            </a:lvl3pPr>
            <a:lvl4pPr>
              <a:defRPr lang="en-US" sz="1800" smtClean="0">
                <a:ea typeface="+mn-ea"/>
                <a:cs typeface="+mn-cs"/>
              </a:defRPr>
            </a:lvl4pPr>
            <a:lvl5pPr>
              <a:defRPr lang="en-US" sz="1800"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2"/>
          </p:nvPr>
        </p:nvSpPr>
        <p:spPr>
          <a:xfrm>
            <a:off x="8843940" y="3984108"/>
            <a:ext cx="2737949" cy="680884"/>
          </a:xfrm>
        </p:spPr>
        <p:txBody>
          <a:bodyPr anchor="b"/>
          <a:lstStyle>
            <a:lvl1pPr>
              <a:defRPr lang="en-US" sz="2000" b="1" i="0" kern="1200" spc="30" baseline="0" dirty="0" smtClean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25"/>
          </p:nvPr>
        </p:nvSpPr>
        <p:spPr>
          <a:xfrm>
            <a:off x="4337988" y="4736575"/>
            <a:ext cx="3548837" cy="1435627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US" sz="1400" b="0" spc="30" smtClean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  <a:lvl2pPr>
              <a:defRPr lang="en-US" sz="1800" smtClean="0">
                <a:ea typeface="+mn-ea"/>
                <a:cs typeface="+mn-cs"/>
              </a:defRPr>
            </a:lvl2pPr>
            <a:lvl3pPr>
              <a:defRPr lang="en-US" sz="1800" smtClean="0">
                <a:ea typeface="+mn-ea"/>
                <a:cs typeface="+mn-cs"/>
              </a:defRPr>
            </a:lvl3pPr>
            <a:lvl4pPr>
              <a:defRPr lang="en-US" sz="1800" smtClean="0">
                <a:ea typeface="+mn-ea"/>
                <a:cs typeface="+mn-cs"/>
              </a:defRPr>
            </a:lvl4pPr>
            <a:lvl5pPr>
              <a:defRPr lang="en-US" sz="1800"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26"/>
          </p:nvPr>
        </p:nvSpPr>
        <p:spPr>
          <a:xfrm>
            <a:off x="5148875" y="3984108"/>
            <a:ext cx="2737949" cy="680884"/>
          </a:xfrm>
        </p:spPr>
        <p:txBody>
          <a:bodyPr anchor="b"/>
          <a:lstStyle>
            <a:lvl1pPr>
              <a:defRPr lang="en-US" sz="2000" b="1" i="0" kern="1200" spc="30" baseline="0" dirty="0" smtClean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5854" y="4088662"/>
            <a:ext cx="3849748" cy="208353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 baseline="0">
                <a:latin typeface="+mj-lt"/>
                <a:ea typeface="Arial Regular" charset="0"/>
                <a:cs typeface="Arial Regular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9910382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2" y="-1787"/>
            <a:ext cx="12192001" cy="3598428"/>
          </a:xfrm>
          <a:custGeom>
            <a:avLst/>
            <a:gdLst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0 w 12036391"/>
              <a:gd name="connsiteY3" fmla="*/ 3598428 h 3598428"/>
              <a:gd name="connsiteX4" fmla="*/ 0 w 12036391"/>
              <a:gd name="connsiteY4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412340 w 12036391"/>
              <a:gd name="connsiteY3" fmla="*/ 3590561 h 3598428"/>
              <a:gd name="connsiteX4" fmla="*/ 0 w 12036391"/>
              <a:gd name="connsiteY4" fmla="*/ 3598428 h 3598428"/>
              <a:gd name="connsiteX5" fmla="*/ 0 w 12036391"/>
              <a:gd name="connsiteY5" fmla="*/ 0 h 3598428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0 w 12036391"/>
              <a:gd name="connsiteY5" fmla="*/ 3598428 h 3600393"/>
              <a:gd name="connsiteX6" fmla="*/ 0 w 12036391"/>
              <a:gd name="connsiteY6" fmla="*/ 0 h 3600393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0 w 12036391"/>
              <a:gd name="connsiteY5" fmla="*/ 3598428 h 3600393"/>
              <a:gd name="connsiteX6" fmla="*/ 0 w 12036391"/>
              <a:gd name="connsiteY6" fmla="*/ 0 h 3600393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9832 w 12036391"/>
              <a:gd name="connsiteY5" fmla="*/ 3273964 h 3600393"/>
              <a:gd name="connsiteX6" fmla="*/ 0 w 12036391"/>
              <a:gd name="connsiteY6" fmla="*/ 0 h 3600393"/>
              <a:gd name="connsiteX0" fmla="*/ 0 w 12036391"/>
              <a:gd name="connsiteY0" fmla="*/ 0 h 3600393"/>
              <a:gd name="connsiteX1" fmla="*/ 12036391 w 12036391"/>
              <a:gd name="connsiteY1" fmla="*/ 0 h 3600393"/>
              <a:gd name="connsiteX2" fmla="*/ 12036391 w 12036391"/>
              <a:gd name="connsiteY2" fmla="*/ 3598428 h 3600393"/>
              <a:gd name="connsiteX3" fmla="*/ 6412340 w 12036391"/>
              <a:gd name="connsiteY3" fmla="*/ 3590561 h 3600393"/>
              <a:gd name="connsiteX4" fmla="*/ 5635592 w 12036391"/>
              <a:gd name="connsiteY4" fmla="*/ 3600393 h 3600393"/>
              <a:gd name="connsiteX5" fmla="*/ 19664 w 12036391"/>
              <a:gd name="connsiteY5" fmla="*/ 3155977 h 3600393"/>
              <a:gd name="connsiteX6" fmla="*/ 0 w 12036391"/>
              <a:gd name="connsiteY6" fmla="*/ 0 h 3600393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412340 w 12036391"/>
              <a:gd name="connsiteY3" fmla="*/ 3590561 h 3598428"/>
              <a:gd name="connsiteX4" fmla="*/ 5773243 w 12036391"/>
              <a:gd name="connsiteY4" fmla="*/ 279414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5773243 w 12036391"/>
              <a:gd name="connsiteY4" fmla="*/ 279414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6697475 w 12036391"/>
              <a:gd name="connsiteY4" fmla="*/ 2823644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7346404 w 12036391"/>
              <a:gd name="connsiteY4" fmla="*/ 284330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7031772 w 12036391"/>
              <a:gd name="connsiteY4" fmla="*/ 2715488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0 w 12036391"/>
              <a:gd name="connsiteY0" fmla="*/ 0 h 3598428"/>
              <a:gd name="connsiteX1" fmla="*/ 12036391 w 12036391"/>
              <a:gd name="connsiteY1" fmla="*/ 0 h 3598428"/>
              <a:gd name="connsiteX2" fmla="*/ 12036391 w 12036391"/>
              <a:gd name="connsiteY2" fmla="*/ 3598428 h 3598428"/>
              <a:gd name="connsiteX3" fmla="*/ 6648314 w 12036391"/>
              <a:gd name="connsiteY3" fmla="*/ 3590561 h 3598428"/>
              <a:gd name="connsiteX4" fmla="*/ 6933450 w 12036391"/>
              <a:gd name="connsiteY4" fmla="*/ 2833476 h 3598428"/>
              <a:gd name="connsiteX5" fmla="*/ 19664 w 12036391"/>
              <a:gd name="connsiteY5" fmla="*/ 3155977 h 3598428"/>
              <a:gd name="connsiteX6" fmla="*/ 0 w 12036391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34396 w 12037337"/>
              <a:gd name="connsiteY4" fmla="*/ 2833476 h 3598428"/>
              <a:gd name="connsiteX5" fmla="*/ 945 w 12037337"/>
              <a:gd name="connsiteY5" fmla="*/ 2831512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34396 w 12037337"/>
              <a:gd name="connsiteY4" fmla="*/ 2843308 h 3598428"/>
              <a:gd name="connsiteX5" fmla="*/ 945 w 12037337"/>
              <a:gd name="connsiteY5" fmla="*/ 2831512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24564 w 12037337"/>
              <a:gd name="connsiteY4" fmla="*/ 2853140 h 3598428"/>
              <a:gd name="connsiteX5" fmla="*/ 945 w 12037337"/>
              <a:gd name="connsiteY5" fmla="*/ 2831512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24564 w 12037337"/>
              <a:gd name="connsiteY4" fmla="*/ 285314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6649260 w 12037337"/>
              <a:gd name="connsiteY3" fmla="*/ 3590561 h 3598428"/>
              <a:gd name="connsiteX4" fmla="*/ 6924564 w 12037337"/>
              <a:gd name="connsiteY4" fmla="*/ 285314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8883870 w 12037337"/>
              <a:gd name="connsiteY3" fmla="*/ 3598181 h 3598428"/>
              <a:gd name="connsiteX4" fmla="*/ 6924564 w 12037337"/>
              <a:gd name="connsiteY4" fmla="*/ 285314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8883870 w 12037337"/>
              <a:gd name="connsiteY3" fmla="*/ 3598181 h 3598428"/>
              <a:gd name="connsiteX4" fmla="*/ 9761193 w 12037337"/>
              <a:gd name="connsiteY4" fmla="*/ 289124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8883870 w 12037337"/>
              <a:gd name="connsiteY3" fmla="*/ 3598181 h 3598428"/>
              <a:gd name="connsiteX4" fmla="*/ 9291823 w 12037337"/>
              <a:gd name="connsiteY4" fmla="*/ 287600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8914481 w 12037337"/>
              <a:gd name="connsiteY3" fmla="*/ 3598181 h 3598428"/>
              <a:gd name="connsiteX4" fmla="*/ 9291823 w 12037337"/>
              <a:gd name="connsiteY4" fmla="*/ 2876000 h 3598428"/>
              <a:gd name="connsiteX5" fmla="*/ 945 w 12037337"/>
              <a:gd name="connsiteY5" fmla="*/ 2851177 h 3598428"/>
              <a:gd name="connsiteX6" fmla="*/ 946 w 12037337"/>
              <a:gd name="connsiteY6" fmla="*/ 0 h 3598428"/>
              <a:gd name="connsiteX0" fmla="*/ 946 w 12037337"/>
              <a:gd name="connsiteY0" fmla="*/ 0 h 3598428"/>
              <a:gd name="connsiteX1" fmla="*/ 12037337 w 12037337"/>
              <a:gd name="connsiteY1" fmla="*/ 0 h 3598428"/>
              <a:gd name="connsiteX2" fmla="*/ 12037337 w 12037337"/>
              <a:gd name="connsiteY2" fmla="*/ 3598428 h 3598428"/>
              <a:gd name="connsiteX3" fmla="*/ 8914481 w 12037337"/>
              <a:gd name="connsiteY3" fmla="*/ 3598181 h 3598428"/>
              <a:gd name="connsiteX4" fmla="*/ 9291823 w 12037337"/>
              <a:gd name="connsiteY4" fmla="*/ 2876000 h 3598428"/>
              <a:gd name="connsiteX5" fmla="*/ 945 w 12037337"/>
              <a:gd name="connsiteY5" fmla="*/ 2868933 h 3598428"/>
              <a:gd name="connsiteX6" fmla="*/ 946 w 12037337"/>
              <a:gd name="connsiteY6" fmla="*/ 0 h 3598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37337" h="3598428">
                <a:moveTo>
                  <a:pt x="946" y="0"/>
                </a:moveTo>
                <a:lnTo>
                  <a:pt x="12037337" y="0"/>
                </a:lnTo>
                <a:lnTo>
                  <a:pt x="12037337" y="3598428"/>
                </a:lnTo>
                <a:lnTo>
                  <a:pt x="8914481" y="3598181"/>
                </a:lnTo>
                <a:lnTo>
                  <a:pt x="9291823" y="2876000"/>
                </a:lnTo>
                <a:lnTo>
                  <a:pt x="945" y="2868933"/>
                </a:lnTo>
                <a:cubicBezTo>
                  <a:pt x="-2332" y="1777612"/>
                  <a:pt x="4223" y="1091321"/>
                  <a:pt x="946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</a:lstStyle>
          <a:p>
            <a:r>
              <a:rPr lang="en-US"/>
              <a:t> To insert picture, drag to placeholder or click icon to add.</a:t>
            </a:r>
          </a:p>
        </p:txBody>
      </p:sp>
      <p:sp>
        <p:nvSpPr>
          <p:cNvPr id="24" name="Parallelogram 10"/>
          <p:cNvSpPr/>
          <p:nvPr userDrawn="1"/>
        </p:nvSpPr>
        <p:spPr>
          <a:xfrm>
            <a:off x="2568" y="2849336"/>
            <a:ext cx="9435817" cy="1046470"/>
          </a:xfrm>
          <a:custGeom>
            <a:avLst/>
            <a:gdLst>
              <a:gd name="connsiteX0" fmla="*/ 0 w 6776720"/>
              <a:gd name="connsiteY0" fmla="*/ 1159329 h 1159329"/>
              <a:gd name="connsiteX1" fmla="*/ 430552 w 6776720"/>
              <a:gd name="connsiteY1" fmla="*/ 0 h 1159329"/>
              <a:gd name="connsiteX2" fmla="*/ 6776720 w 6776720"/>
              <a:gd name="connsiteY2" fmla="*/ 0 h 1159329"/>
              <a:gd name="connsiteX3" fmla="*/ 6346168 w 6776720"/>
              <a:gd name="connsiteY3" fmla="*/ 1159329 h 1159329"/>
              <a:gd name="connsiteX4" fmla="*/ 0 w 6776720"/>
              <a:gd name="connsiteY4" fmla="*/ 1159329 h 1159329"/>
              <a:gd name="connsiteX0" fmla="*/ 0 w 6776720"/>
              <a:gd name="connsiteY0" fmla="*/ 1169489 h 1169489"/>
              <a:gd name="connsiteX1" fmla="*/ 24152 w 6776720"/>
              <a:gd name="connsiteY1" fmla="*/ 0 h 1169489"/>
              <a:gd name="connsiteX2" fmla="*/ 6776720 w 6776720"/>
              <a:gd name="connsiteY2" fmla="*/ 10160 h 1169489"/>
              <a:gd name="connsiteX3" fmla="*/ 6346168 w 6776720"/>
              <a:gd name="connsiteY3" fmla="*/ 1169489 h 1169489"/>
              <a:gd name="connsiteX4" fmla="*/ 0 w 6776720"/>
              <a:gd name="connsiteY4" fmla="*/ 1169489 h 1169489"/>
              <a:gd name="connsiteX0" fmla="*/ 78680 w 6855400"/>
              <a:gd name="connsiteY0" fmla="*/ 1159329 h 1159329"/>
              <a:gd name="connsiteX1" fmla="*/ 0 w 6855400"/>
              <a:gd name="connsiteY1" fmla="*/ 7595 h 1159329"/>
              <a:gd name="connsiteX2" fmla="*/ 6855400 w 6855400"/>
              <a:gd name="connsiteY2" fmla="*/ 0 h 1159329"/>
              <a:gd name="connsiteX3" fmla="*/ 6424848 w 6855400"/>
              <a:gd name="connsiteY3" fmla="*/ 1159329 h 1159329"/>
              <a:gd name="connsiteX4" fmla="*/ 78680 w 6855400"/>
              <a:gd name="connsiteY4" fmla="*/ 1159329 h 1159329"/>
              <a:gd name="connsiteX0" fmla="*/ 10126 w 6855400"/>
              <a:gd name="connsiteY0" fmla="*/ 1150451 h 1159329"/>
              <a:gd name="connsiteX1" fmla="*/ 0 w 6855400"/>
              <a:gd name="connsiteY1" fmla="*/ 7595 h 1159329"/>
              <a:gd name="connsiteX2" fmla="*/ 6855400 w 6855400"/>
              <a:gd name="connsiteY2" fmla="*/ 0 h 1159329"/>
              <a:gd name="connsiteX3" fmla="*/ 6424848 w 6855400"/>
              <a:gd name="connsiteY3" fmla="*/ 1159329 h 1159329"/>
              <a:gd name="connsiteX4" fmla="*/ 10126 w 6855400"/>
              <a:gd name="connsiteY4" fmla="*/ 1150451 h 1159329"/>
              <a:gd name="connsiteX0" fmla="*/ 10126 w 6870234"/>
              <a:gd name="connsiteY0" fmla="*/ 1150451 h 1159329"/>
              <a:gd name="connsiteX1" fmla="*/ 0 w 6870234"/>
              <a:gd name="connsiteY1" fmla="*/ 7595 h 1159329"/>
              <a:gd name="connsiteX2" fmla="*/ 6870234 w 6870234"/>
              <a:gd name="connsiteY2" fmla="*/ 0 h 1159329"/>
              <a:gd name="connsiteX3" fmla="*/ 6424848 w 6870234"/>
              <a:gd name="connsiteY3" fmla="*/ 1159329 h 1159329"/>
              <a:gd name="connsiteX4" fmla="*/ 10126 w 6870234"/>
              <a:gd name="connsiteY4" fmla="*/ 1150451 h 1159329"/>
              <a:gd name="connsiteX0" fmla="*/ 406 w 6860514"/>
              <a:gd name="connsiteY0" fmla="*/ 1150451 h 1159329"/>
              <a:gd name="connsiteX1" fmla="*/ 12531 w 6860514"/>
              <a:gd name="connsiteY1" fmla="*/ 7595 h 1159329"/>
              <a:gd name="connsiteX2" fmla="*/ 6860514 w 6860514"/>
              <a:gd name="connsiteY2" fmla="*/ 0 h 1159329"/>
              <a:gd name="connsiteX3" fmla="*/ 6415128 w 6860514"/>
              <a:gd name="connsiteY3" fmla="*/ 1159329 h 1159329"/>
              <a:gd name="connsiteX4" fmla="*/ 406 w 6860514"/>
              <a:gd name="connsiteY4" fmla="*/ 1150451 h 1159329"/>
              <a:gd name="connsiteX0" fmla="*/ 17544 w 6847983"/>
              <a:gd name="connsiteY0" fmla="*/ 1150451 h 1159329"/>
              <a:gd name="connsiteX1" fmla="*/ 0 w 6847983"/>
              <a:gd name="connsiteY1" fmla="*/ 7595 h 1159329"/>
              <a:gd name="connsiteX2" fmla="*/ 6847983 w 6847983"/>
              <a:gd name="connsiteY2" fmla="*/ 0 h 1159329"/>
              <a:gd name="connsiteX3" fmla="*/ 6402597 w 6847983"/>
              <a:gd name="connsiteY3" fmla="*/ 1159329 h 1159329"/>
              <a:gd name="connsiteX4" fmla="*/ 17544 w 6847983"/>
              <a:gd name="connsiteY4" fmla="*/ 1150451 h 1159329"/>
              <a:gd name="connsiteX0" fmla="*/ 630 w 6831069"/>
              <a:gd name="connsiteY0" fmla="*/ 1150451 h 1159329"/>
              <a:gd name="connsiteX1" fmla="*/ 5337 w 6831069"/>
              <a:gd name="connsiteY1" fmla="*/ 7595 h 1159329"/>
              <a:gd name="connsiteX2" fmla="*/ 6831069 w 6831069"/>
              <a:gd name="connsiteY2" fmla="*/ 0 h 1159329"/>
              <a:gd name="connsiteX3" fmla="*/ 6385683 w 6831069"/>
              <a:gd name="connsiteY3" fmla="*/ 1159329 h 1159329"/>
              <a:gd name="connsiteX4" fmla="*/ 630 w 6831069"/>
              <a:gd name="connsiteY4" fmla="*/ 1150451 h 1159329"/>
              <a:gd name="connsiteX0" fmla="*/ 630 w 6831069"/>
              <a:gd name="connsiteY0" fmla="*/ 1150451 h 1159329"/>
              <a:gd name="connsiteX1" fmla="*/ 5337 w 6831069"/>
              <a:gd name="connsiteY1" fmla="*/ 7595 h 1159329"/>
              <a:gd name="connsiteX2" fmla="*/ 6831069 w 6831069"/>
              <a:gd name="connsiteY2" fmla="*/ 0 h 1159329"/>
              <a:gd name="connsiteX3" fmla="*/ 6385683 w 6831069"/>
              <a:gd name="connsiteY3" fmla="*/ 1159329 h 1159329"/>
              <a:gd name="connsiteX4" fmla="*/ 630 w 6831069"/>
              <a:gd name="connsiteY4" fmla="*/ 1150451 h 1159329"/>
              <a:gd name="connsiteX0" fmla="*/ 630 w 6831069"/>
              <a:gd name="connsiteY0" fmla="*/ 1150451 h 1150878"/>
              <a:gd name="connsiteX1" fmla="*/ 5337 w 6831069"/>
              <a:gd name="connsiteY1" fmla="*/ 7595 h 1150878"/>
              <a:gd name="connsiteX2" fmla="*/ 6831069 w 6831069"/>
              <a:gd name="connsiteY2" fmla="*/ 0 h 1150878"/>
              <a:gd name="connsiteX3" fmla="*/ 6415351 w 6831069"/>
              <a:gd name="connsiteY3" fmla="*/ 1150878 h 1150878"/>
              <a:gd name="connsiteX4" fmla="*/ 630 w 6831069"/>
              <a:gd name="connsiteY4" fmla="*/ 1150451 h 1150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31069" h="1150878">
                <a:moveTo>
                  <a:pt x="630" y="1150451"/>
                </a:moveTo>
                <a:cubicBezTo>
                  <a:pt x="-2745" y="769499"/>
                  <a:pt x="8712" y="388547"/>
                  <a:pt x="5337" y="7595"/>
                </a:cubicBezTo>
                <a:lnTo>
                  <a:pt x="6831069" y="0"/>
                </a:lnTo>
                <a:lnTo>
                  <a:pt x="6415351" y="1150878"/>
                </a:lnTo>
                <a:lnTo>
                  <a:pt x="630" y="115045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15852" y="3227584"/>
            <a:ext cx="8828149" cy="393261"/>
          </a:xfrm>
        </p:spPr>
        <p:txBody>
          <a:bodyPr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5" name="TextBox 34"/>
          <p:cNvSpPr txBox="1"/>
          <p:nvPr userDrawn="1"/>
        </p:nvSpPr>
        <p:spPr>
          <a:xfrm>
            <a:off x="301384" y="4295603"/>
            <a:ext cx="538448" cy="704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4800" b="1" i="0" spc="30" baseline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rPr>
              <a:t>1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048431" y="4295603"/>
            <a:ext cx="538448" cy="704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4800" b="1" i="0" spc="30" baseline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rPr>
              <a:t>2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5897700" y="4295603"/>
            <a:ext cx="538448" cy="704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4800" b="1" i="0" spc="30" baseline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rPr>
              <a:t>3</a:t>
            </a:r>
          </a:p>
        </p:txBody>
      </p:sp>
      <p:sp>
        <p:nvSpPr>
          <p:cNvPr id="41" name="TextBox 40"/>
          <p:cNvSpPr txBox="1"/>
          <p:nvPr userDrawn="1"/>
        </p:nvSpPr>
        <p:spPr>
          <a:xfrm>
            <a:off x="8757207" y="4295603"/>
            <a:ext cx="538448" cy="704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4800" b="1" i="0" spc="30" baseline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rPr>
              <a:t>4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03588" y="4429310"/>
            <a:ext cx="8546597" cy="484094"/>
            <a:chOff x="602690" y="4440215"/>
            <a:chExt cx="6409948" cy="883625"/>
          </a:xfrm>
        </p:grpSpPr>
        <p:cxnSp>
          <p:nvCxnSpPr>
            <p:cNvPr id="36" name="Straight Connector 35"/>
            <p:cNvCxnSpPr/>
            <p:nvPr userDrawn="1"/>
          </p:nvCxnSpPr>
          <p:spPr>
            <a:xfrm>
              <a:off x="602690" y="4440215"/>
              <a:ext cx="0" cy="883625"/>
            </a:xfrm>
            <a:prstGeom prst="line">
              <a:avLst/>
            </a:prstGeom>
            <a:ln w="381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 userDrawn="1"/>
          </p:nvCxnSpPr>
          <p:spPr>
            <a:xfrm>
              <a:off x="2731631" y="4440215"/>
              <a:ext cx="0" cy="883625"/>
            </a:xfrm>
            <a:prstGeom prst="line">
              <a:avLst/>
            </a:prstGeom>
            <a:ln w="381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>
              <a:off x="4869083" y="4440215"/>
              <a:ext cx="0" cy="883625"/>
            </a:xfrm>
            <a:prstGeom prst="line">
              <a:avLst/>
            </a:prstGeom>
            <a:ln w="381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>
              <a:off x="7012638" y="4440215"/>
              <a:ext cx="0" cy="883625"/>
            </a:xfrm>
            <a:prstGeom prst="line">
              <a:avLst/>
            </a:prstGeom>
            <a:ln w="381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 Placeholder 6"/>
          <p:cNvSpPr>
            <a:spLocks noGrp="1"/>
          </p:cNvSpPr>
          <p:nvPr>
            <p:ph type="body" sz="quarter" idx="40"/>
          </p:nvPr>
        </p:nvSpPr>
        <p:spPr>
          <a:xfrm>
            <a:off x="9484662" y="4729942"/>
            <a:ext cx="2107732" cy="1442258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US" sz="1200" b="0" spc="30" dirty="0" smtClean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41"/>
          </p:nvPr>
        </p:nvSpPr>
        <p:spPr>
          <a:xfrm>
            <a:off x="9484662" y="4093198"/>
            <a:ext cx="2107732" cy="570897"/>
          </a:xfrm>
          <a:noFill/>
        </p:spPr>
        <p:txBody>
          <a:bodyPr wrap="square" lIns="0" tIns="0" rIns="0" bIns="0" rtlCol="0" anchor="b">
            <a:noAutofit/>
          </a:bodyPr>
          <a:lstStyle>
            <a:lvl1pPr>
              <a:defRPr lang="en-US" sz="1600" spc="3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5" name="Text Placeholder 6"/>
          <p:cNvSpPr>
            <a:spLocks noGrp="1"/>
          </p:cNvSpPr>
          <p:nvPr>
            <p:ph type="body" sz="quarter" idx="42"/>
          </p:nvPr>
        </p:nvSpPr>
        <p:spPr>
          <a:xfrm>
            <a:off x="6626535" y="4729942"/>
            <a:ext cx="2107732" cy="1442258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US" sz="1200" b="0" spc="30" dirty="0" smtClean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6" name="Text Placeholder 6"/>
          <p:cNvSpPr>
            <a:spLocks noGrp="1"/>
          </p:cNvSpPr>
          <p:nvPr>
            <p:ph type="body" sz="quarter" idx="43"/>
          </p:nvPr>
        </p:nvSpPr>
        <p:spPr>
          <a:xfrm>
            <a:off x="6626535" y="4093198"/>
            <a:ext cx="2107732" cy="570897"/>
          </a:xfrm>
          <a:noFill/>
        </p:spPr>
        <p:txBody>
          <a:bodyPr wrap="square" lIns="0" tIns="0" rIns="0" bIns="0" rtlCol="0" anchor="b">
            <a:noAutofit/>
          </a:bodyPr>
          <a:lstStyle>
            <a:lvl1pPr>
              <a:defRPr lang="en-US" sz="1600" spc="3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7" name="Text Placeholder 6"/>
          <p:cNvSpPr>
            <a:spLocks noGrp="1"/>
          </p:cNvSpPr>
          <p:nvPr>
            <p:ph type="body" sz="quarter" idx="44"/>
          </p:nvPr>
        </p:nvSpPr>
        <p:spPr>
          <a:xfrm>
            <a:off x="3768411" y="4729942"/>
            <a:ext cx="2107732" cy="1442258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US" sz="1200" b="0" spc="30" dirty="0" smtClean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8" name="Text Placeholder 6"/>
          <p:cNvSpPr>
            <a:spLocks noGrp="1"/>
          </p:cNvSpPr>
          <p:nvPr>
            <p:ph type="body" sz="quarter" idx="45"/>
          </p:nvPr>
        </p:nvSpPr>
        <p:spPr>
          <a:xfrm>
            <a:off x="3768411" y="4093198"/>
            <a:ext cx="2107732" cy="570897"/>
          </a:xfrm>
          <a:noFill/>
        </p:spPr>
        <p:txBody>
          <a:bodyPr wrap="square" lIns="0" tIns="0" rIns="0" bIns="0" rtlCol="0" anchor="b">
            <a:noAutofit/>
          </a:bodyPr>
          <a:lstStyle>
            <a:lvl1pPr>
              <a:defRPr lang="en-US" sz="1600" spc="3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9" name="Text Placeholder 6"/>
          <p:cNvSpPr>
            <a:spLocks noGrp="1"/>
          </p:cNvSpPr>
          <p:nvPr>
            <p:ph type="body" sz="quarter" idx="46"/>
          </p:nvPr>
        </p:nvSpPr>
        <p:spPr>
          <a:xfrm>
            <a:off x="930271" y="4729942"/>
            <a:ext cx="2107732" cy="1442258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US" sz="1200" b="0" spc="30" dirty="0" smtClean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0" name="Text Placeholder 6"/>
          <p:cNvSpPr>
            <a:spLocks noGrp="1"/>
          </p:cNvSpPr>
          <p:nvPr>
            <p:ph type="body" sz="quarter" idx="47"/>
          </p:nvPr>
        </p:nvSpPr>
        <p:spPr>
          <a:xfrm>
            <a:off x="930271" y="4093198"/>
            <a:ext cx="2107732" cy="570897"/>
          </a:xfrm>
          <a:noFill/>
        </p:spPr>
        <p:txBody>
          <a:bodyPr wrap="square" lIns="0" tIns="0" rIns="0" bIns="0" rtlCol="0" anchor="b">
            <a:noAutofit/>
          </a:bodyPr>
          <a:lstStyle>
            <a:lvl1pPr>
              <a:defRPr lang="en-US" sz="1600" spc="3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8981890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" y="1882588"/>
            <a:ext cx="4317999" cy="457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3252" y="1032389"/>
            <a:ext cx="3562349" cy="335111"/>
          </a:xfrm>
        </p:spPr>
        <p:txBody>
          <a:bodyPr/>
          <a:lstStyle>
            <a:lvl1pPr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9599927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ub-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 userDrawn="1"/>
        </p:nvGrpSpPr>
        <p:grpSpPr>
          <a:xfrm>
            <a:off x="2660073" y="685800"/>
            <a:ext cx="8922329" cy="5697244"/>
            <a:chOff x="1677880" y="763480"/>
            <a:chExt cx="7421733" cy="5095782"/>
          </a:xfrm>
        </p:grpSpPr>
        <p:sp>
          <p:nvSpPr>
            <p:cNvPr id="12" name="Freeform 11"/>
            <p:cNvSpPr/>
            <p:nvPr userDrawn="1"/>
          </p:nvSpPr>
          <p:spPr>
            <a:xfrm>
              <a:off x="6621888" y="763480"/>
              <a:ext cx="2477725" cy="3071673"/>
            </a:xfrm>
            <a:custGeom>
              <a:avLst/>
              <a:gdLst>
                <a:gd name="connsiteX0" fmla="*/ 4944862 w 4944862"/>
                <a:gd name="connsiteY0" fmla="*/ 0 h 5095782"/>
                <a:gd name="connsiteX1" fmla="*/ 4944862 w 4944862"/>
                <a:gd name="connsiteY1" fmla="*/ 4048217 h 5095782"/>
                <a:gd name="connsiteX2" fmla="*/ 0 w 4944862"/>
                <a:gd name="connsiteY2" fmla="*/ 5095782 h 5095782"/>
                <a:gd name="connsiteX3" fmla="*/ 4944862 w 4944862"/>
                <a:gd name="connsiteY3" fmla="*/ 0 h 5095782"/>
                <a:gd name="connsiteX0" fmla="*/ 0 w 2459115"/>
                <a:gd name="connsiteY0" fmla="*/ 0 h 4048217"/>
                <a:gd name="connsiteX1" fmla="*/ 0 w 2459115"/>
                <a:gd name="connsiteY1" fmla="*/ 4048217 h 4048217"/>
                <a:gd name="connsiteX2" fmla="*/ 2459115 w 2459115"/>
                <a:gd name="connsiteY2" fmla="*/ 2006353 h 4048217"/>
                <a:gd name="connsiteX3" fmla="*/ 0 w 2459115"/>
                <a:gd name="connsiteY3" fmla="*/ 0 h 4048217"/>
                <a:gd name="connsiteX0" fmla="*/ 8877 w 2467992"/>
                <a:gd name="connsiteY0" fmla="*/ 0 h 2547891"/>
                <a:gd name="connsiteX1" fmla="*/ 0 w 2467992"/>
                <a:gd name="connsiteY1" fmla="*/ 2547891 h 2547891"/>
                <a:gd name="connsiteX2" fmla="*/ 2467992 w 2467992"/>
                <a:gd name="connsiteY2" fmla="*/ 2006353 h 2547891"/>
                <a:gd name="connsiteX3" fmla="*/ 8877 w 2467992"/>
                <a:gd name="connsiteY3" fmla="*/ 0 h 2547891"/>
                <a:gd name="connsiteX0" fmla="*/ 0 w 2459115"/>
                <a:gd name="connsiteY0" fmla="*/ 0 h 3062796"/>
                <a:gd name="connsiteX1" fmla="*/ 8878 w 2459115"/>
                <a:gd name="connsiteY1" fmla="*/ 3062796 h 3062796"/>
                <a:gd name="connsiteX2" fmla="*/ 2459115 w 2459115"/>
                <a:gd name="connsiteY2" fmla="*/ 2006353 h 3062796"/>
                <a:gd name="connsiteX3" fmla="*/ 0 w 2459115"/>
                <a:gd name="connsiteY3" fmla="*/ 0 h 3062796"/>
                <a:gd name="connsiteX0" fmla="*/ 0 w 2476871"/>
                <a:gd name="connsiteY0" fmla="*/ 0 h 3062796"/>
                <a:gd name="connsiteX1" fmla="*/ 8878 w 2476871"/>
                <a:gd name="connsiteY1" fmla="*/ 3062796 h 3062796"/>
                <a:gd name="connsiteX2" fmla="*/ 2476871 w 2476871"/>
                <a:gd name="connsiteY2" fmla="*/ 2024108 h 3062796"/>
                <a:gd name="connsiteX3" fmla="*/ 0 w 2476871"/>
                <a:gd name="connsiteY3" fmla="*/ 0 h 3062796"/>
                <a:gd name="connsiteX0" fmla="*/ 854 w 2477725"/>
                <a:gd name="connsiteY0" fmla="*/ 0 h 3071673"/>
                <a:gd name="connsiteX1" fmla="*/ 854 w 2477725"/>
                <a:gd name="connsiteY1" fmla="*/ 3071673 h 3071673"/>
                <a:gd name="connsiteX2" fmla="*/ 2477725 w 2477725"/>
                <a:gd name="connsiteY2" fmla="*/ 2024108 h 3071673"/>
                <a:gd name="connsiteX3" fmla="*/ 854 w 2477725"/>
                <a:gd name="connsiteY3" fmla="*/ 0 h 3071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7725" h="3071673">
                  <a:moveTo>
                    <a:pt x="854" y="0"/>
                  </a:moveTo>
                  <a:cubicBezTo>
                    <a:pt x="3813" y="1020932"/>
                    <a:pt x="-2105" y="2050741"/>
                    <a:pt x="854" y="3071673"/>
                  </a:cubicBezTo>
                  <a:lnTo>
                    <a:pt x="2477725" y="2024108"/>
                  </a:lnTo>
                  <a:lnTo>
                    <a:pt x="85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b="0" i="0" spc="30" baseline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  <p:sp>
          <p:nvSpPr>
            <p:cNvPr id="13" name="Freeform 12"/>
            <p:cNvSpPr/>
            <p:nvPr userDrawn="1"/>
          </p:nvSpPr>
          <p:spPr>
            <a:xfrm>
              <a:off x="1677880" y="763480"/>
              <a:ext cx="4944862" cy="5095782"/>
            </a:xfrm>
            <a:custGeom>
              <a:avLst/>
              <a:gdLst>
                <a:gd name="connsiteX0" fmla="*/ 4944862 w 4944862"/>
                <a:gd name="connsiteY0" fmla="*/ 0 h 5095782"/>
                <a:gd name="connsiteX1" fmla="*/ 4944862 w 4944862"/>
                <a:gd name="connsiteY1" fmla="*/ 4048217 h 5095782"/>
                <a:gd name="connsiteX2" fmla="*/ 0 w 4944862"/>
                <a:gd name="connsiteY2" fmla="*/ 5095782 h 5095782"/>
                <a:gd name="connsiteX3" fmla="*/ 4944862 w 4944862"/>
                <a:gd name="connsiteY3" fmla="*/ 0 h 5095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44862" h="5095782">
                  <a:moveTo>
                    <a:pt x="4944862" y="0"/>
                  </a:moveTo>
                  <a:lnTo>
                    <a:pt x="4944862" y="4048217"/>
                  </a:lnTo>
                  <a:lnTo>
                    <a:pt x="0" y="5095782"/>
                  </a:lnTo>
                  <a:lnTo>
                    <a:pt x="494486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b="0" i="0" spc="30" baseline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</p:grp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09602" y="685800"/>
            <a:ext cx="6570132" cy="2455760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920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ub-Divider w/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/>
          <p:cNvSpPr/>
          <p:nvPr userDrawn="1"/>
        </p:nvSpPr>
        <p:spPr>
          <a:xfrm>
            <a:off x="8603707" y="685800"/>
            <a:ext cx="2978695" cy="3434227"/>
          </a:xfrm>
          <a:custGeom>
            <a:avLst/>
            <a:gdLst>
              <a:gd name="connsiteX0" fmla="*/ 4944862 w 4944862"/>
              <a:gd name="connsiteY0" fmla="*/ 0 h 5095782"/>
              <a:gd name="connsiteX1" fmla="*/ 4944862 w 4944862"/>
              <a:gd name="connsiteY1" fmla="*/ 4048217 h 5095782"/>
              <a:gd name="connsiteX2" fmla="*/ 0 w 4944862"/>
              <a:gd name="connsiteY2" fmla="*/ 5095782 h 5095782"/>
              <a:gd name="connsiteX3" fmla="*/ 4944862 w 4944862"/>
              <a:gd name="connsiteY3" fmla="*/ 0 h 5095782"/>
              <a:gd name="connsiteX0" fmla="*/ 0 w 2459115"/>
              <a:gd name="connsiteY0" fmla="*/ 0 h 4048217"/>
              <a:gd name="connsiteX1" fmla="*/ 0 w 2459115"/>
              <a:gd name="connsiteY1" fmla="*/ 4048217 h 4048217"/>
              <a:gd name="connsiteX2" fmla="*/ 2459115 w 2459115"/>
              <a:gd name="connsiteY2" fmla="*/ 2006353 h 4048217"/>
              <a:gd name="connsiteX3" fmla="*/ 0 w 2459115"/>
              <a:gd name="connsiteY3" fmla="*/ 0 h 4048217"/>
              <a:gd name="connsiteX0" fmla="*/ 8877 w 2467992"/>
              <a:gd name="connsiteY0" fmla="*/ 0 h 2547891"/>
              <a:gd name="connsiteX1" fmla="*/ 0 w 2467992"/>
              <a:gd name="connsiteY1" fmla="*/ 2547891 h 2547891"/>
              <a:gd name="connsiteX2" fmla="*/ 2467992 w 2467992"/>
              <a:gd name="connsiteY2" fmla="*/ 2006353 h 2547891"/>
              <a:gd name="connsiteX3" fmla="*/ 8877 w 2467992"/>
              <a:gd name="connsiteY3" fmla="*/ 0 h 2547891"/>
              <a:gd name="connsiteX0" fmla="*/ 0 w 2459115"/>
              <a:gd name="connsiteY0" fmla="*/ 0 h 3062796"/>
              <a:gd name="connsiteX1" fmla="*/ 8878 w 2459115"/>
              <a:gd name="connsiteY1" fmla="*/ 3062796 h 3062796"/>
              <a:gd name="connsiteX2" fmla="*/ 2459115 w 2459115"/>
              <a:gd name="connsiteY2" fmla="*/ 2006353 h 3062796"/>
              <a:gd name="connsiteX3" fmla="*/ 0 w 2459115"/>
              <a:gd name="connsiteY3" fmla="*/ 0 h 3062796"/>
              <a:gd name="connsiteX0" fmla="*/ 0 w 2476871"/>
              <a:gd name="connsiteY0" fmla="*/ 0 h 3062796"/>
              <a:gd name="connsiteX1" fmla="*/ 8878 w 2476871"/>
              <a:gd name="connsiteY1" fmla="*/ 3062796 h 3062796"/>
              <a:gd name="connsiteX2" fmla="*/ 2476871 w 2476871"/>
              <a:gd name="connsiteY2" fmla="*/ 2024108 h 3062796"/>
              <a:gd name="connsiteX3" fmla="*/ 0 w 2476871"/>
              <a:gd name="connsiteY3" fmla="*/ 0 h 3062796"/>
              <a:gd name="connsiteX0" fmla="*/ 854 w 2477725"/>
              <a:gd name="connsiteY0" fmla="*/ 0 h 3071673"/>
              <a:gd name="connsiteX1" fmla="*/ 854 w 2477725"/>
              <a:gd name="connsiteY1" fmla="*/ 3071673 h 3071673"/>
              <a:gd name="connsiteX2" fmla="*/ 2477725 w 2477725"/>
              <a:gd name="connsiteY2" fmla="*/ 2024108 h 3071673"/>
              <a:gd name="connsiteX3" fmla="*/ 854 w 2477725"/>
              <a:gd name="connsiteY3" fmla="*/ 0 h 3071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77725" h="3071673">
                <a:moveTo>
                  <a:pt x="854" y="0"/>
                </a:moveTo>
                <a:cubicBezTo>
                  <a:pt x="3813" y="1020932"/>
                  <a:pt x="-2105" y="2050741"/>
                  <a:pt x="854" y="3071673"/>
                </a:cubicBezTo>
                <a:lnTo>
                  <a:pt x="2477725" y="2024108"/>
                </a:lnTo>
                <a:lnTo>
                  <a:pt x="854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7" name="Picture Placeholder 3"/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2660073" y="685800"/>
            <a:ext cx="5943634" cy="5696430"/>
          </a:xfrm>
          <a:custGeom>
            <a:avLst/>
            <a:gdLst>
              <a:gd name="connsiteX0" fmla="*/ 3 w 2571750"/>
              <a:gd name="connsiteY0" fmla="*/ 982319 h 2571750"/>
              <a:gd name="connsiteX1" fmla="*/ 1285875 w 2571750"/>
              <a:gd name="connsiteY1" fmla="*/ 0 h 2571750"/>
              <a:gd name="connsiteX2" fmla="*/ 2571747 w 2571750"/>
              <a:gd name="connsiteY2" fmla="*/ 982319 h 2571750"/>
              <a:gd name="connsiteX3" fmla="*/ 2080588 w 2571750"/>
              <a:gd name="connsiteY3" fmla="*/ 2571743 h 2571750"/>
              <a:gd name="connsiteX4" fmla="*/ 491162 w 2571750"/>
              <a:gd name="connsiteY4" fmla="*/ 2571743 h 2571750"/>
              <a:gd name="connsiteX5" fmla="*/ 3 w 2571750"/>
              <a:gd name="connsiteY5" fmla="*/ 982319 h 2571750"/>
              <a:gd name="connsiteX0" fmla="*/ 0 w 2571744"/>
              <a:gd name="connsiteY0" fmla="*/ 1791944 h 3381368"/>
              <a:gd name="connsiteX1" fmla="*/ 1800222 w 2571744"/>
              <a:gd name="connsiteY1" fmla="*/ 0 h 3381368"/>
              <a:gd name="connsiteX2" fmla="*/ 2571744 w 2571744"/>
              <a:gd name="connsiteY2" fmla="*/ 1791944 h 3381368"/>
              <a:gd name="connsiteX3" fmla="*/ 2080585 w 2571744"/>
              <a:gd name="connsiteY3" fmla="*/ 3381368 h 3381368"/>
              <a:gd name="connsiteX4" fmla="*/ 491159 w 2571744"/>
              <a:gd name="connsiteY4" fmla="*/ 3381368 h 3381368"/>
              <a:gd name="connsiteX5" fmla="*/ 0 w 2571744"/>
              <a:gd name="connsiteY5" fmla="*/ 1791944 h 3381368"/>
              <a:gd name="connsiteX0" fmla="*/ 0 w 5010144"/>
              <a:gd name="connsiteY0" fmla="*/ 2458694 h 3381368"/>
              <a:gd name="connsiteX1" fmla="*/ 4238622 w 5010144"/>
              <a:gd name="connsiteY1" fmla="*/ 0 h 3381368"/>
              <a:gd name="connsiteX2" fmla="*/ 5010144 w 5010144"/>
              <a:gd name="connsiteY2" fmla="*/ 1791944 h 3381368"/>
              <a:gd name="connsiteX3" fmla="*/ 4518985 w 5010144"/>
              <a:gd name="connsiteY3" fmla="*/ 3381368 h 3381368"/>
              <a:gd name="connsiteX4" fmla="*/ 2929559 w 5010144"/>
              <a:gd name="connsiteY4" fmla="*/ 3381368 h 3381368"/>
              <a:gd name="connsiteX5" fmla="*/ 0 w 5010144"/>
              <a:gd name="connsiteY5" fmla="*/ 2458694 h 3381368"/>
              <a:gd name="connsiteX0" fmla="*/ 0 w 5010144"/>
              <a:gd name="connsiteY0" fmla="*/ 2458694 h 6905618"/>
              <a:gd name="connsiteX1" fmla="*/ 4238622 w 5010144"/>
              <a:gd name="connsiteY1" fmla="*/ 0 h 6905618"/>
              <a:gd name="connsiteX2" fmla="*/ 5010144 w 5010144"/>
              <a:gd name="connsiteY2" fmla="*/ 1791944 h 6905618"/>
              <a:gd name="connsiteX3" fmla="*/ 4518985 w 5010144"/>
              <a:gd name="connsiteY3" fmla="*/ 3381368 h 6905618"/>
              <a:gd name="connsiteX4" fmla="*/ 2872409 w 5010144"/>
              <a:gd name="connsiteY4" fmla="*/ 6905618 h 6905618"/>
              <a:gd name="connsiteX5" fmla="*/ 0 w 5010144"/>
              <a:gd name="connsiteY5" fmla="*/ 2458694 h 6905618"/>
              <a:gd name="connsiteX0" fmla="*/ 0 w 5319085"/>
              <a:gd name="connsiteY0" fmla="*/ 2458694 h 6905618"/>
              <a:gd name="connsiteX1" fmla="*/ 4238622 w 5319085"/>
              <a:gd name="connsiteY1" fmla="*/ 0 h 6905618"/>
              <a:gd name="connsiteX2" fmla="*/ 5010144 w 5319085"/>
              <a:gd name="connsiteY2" fmla="*/ 1791944 h 6905618"/>
              <a:gd name="connsiteX3" fmla="*/ 5319085 w 5319085"/>
              <a:gd name="connsiteY3" fmla="*/ 6867518 h 6905618"/>
              <a:gd name="connsiteX4" fmla="*/ 2872409 w 5319085"/>
              <a:gd name="connsiteY4" fmla="*/ 6905618 h 6905618"/>
              <a:gd name="connsiteX5" fmla="*/ 0 w 5319085"/>
              <a:gd name="connsiteY5" fmla="*/ 2458694 h 6905618"/>
              <a:gd name="connsiteX0" fmla="*/ 0 w 5319085"/>
              <a:gd name="connsiteY0" fmla="*/ 2458694 h 6896093"/>
              <a:gd name="connsiteX1" fmla="*/ 4238622 w 5319085"/>
              <a:gd name="connsiteY1" fmla="*/ 0 h 6896093"/>
              <a:gd name="connsiteX2" fmla="*/ 5010144 w 5319085"/>
              <a:gd name="connsiteY2" fmla="*/ 1791944 h 6896093"/>
              <a:gd name="connsiteX3" fmla="*/ 5319085 w 5319085"/>
              <a:gd name="connsiteY3" fmla="*/ 6867518 h 6896093"/>
              <a:gd name="connsiteX4" fmla="*/ 2862884 w 5319085"/>
              <a:gd name="connsiteY4" fmla="*/ 6896093 h 6896093"/>
              <a:gd name="connsiteX5" fmla="*/ 0 w 5319085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5319085 w 8543919"/>
              <a:gd name="connsiteY3" fmla="*/ 6867518 h 6896093"/>
              <a:gd name="connsiteX4" fmla="*/ 2862884 w 8543919"/>
              <a:gd name="connsiteY4" fmla="*/ 6896093 h 6896093"/>
              <a:gd name="connsiteX5" fmla="*/ 0 w 8543919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105772 w 8543919"/>
              <a:gd name="connsiteY3" fmla="*/ 30575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327425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02910 w 8527744"/>
              <a:gd name="connsiteY4" fmla="*/ 686751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523432 w 8527744"/>
              <a:gd name="connsiteY3" fmla="*/ 5782739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846709 w 8527744"/>
              <a:gd name="connsiteY5" fmla="*/ 689609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935665 w 8527744"/>
              <a:gd name="connsiteY5" fmla="*/ 687348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307659 w 8527744"/>
              <a:gd name="connsiteY5" fmla="*/ 6843336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170183 w 8527744"/>
              <a:gd name="connsiteY5" fmla="*/ 6911167 h 6912738"/>
              <a:gd name="connsiteX6" fmla="*/ 0 w 8527744"/>
              <a:gd name="connsiteY6" fmla="*/ 2353181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326491 w 9543237"/>
              <a:gd name="connsiteY4" fmla="*/ 6912738 h 6912738"/>
              <a:gd name="connsiteX5" fmla="*/ 4185676 w 9543237"/>
              <a:gd name="connsiteY5" fmla="*/ 6911167 h 6912738"/>
              <a:gd name="connsiteX6" fmla="*/ 0 w 9543237"/>
              <a:gd name="connsiteY6" fmla="*/ 1124633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326491 w 9543237"/>
              <a:gd name="connsiteY4" fmla="*/ 6912738 h 6912738"/>
              <a:gd name="connsiteX5" fmla="*/ 3150655 w 9543237"/>
              <a:gd name="connsiteY5" fmla="*/ 6293030 h 6912738"/>
              <a:gd name="connsiteX6" fmla="*/ 0 w 9543237"/>
              <a:gd name="connsiteY6" fmla="*/ 1124633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297198 w 9543237"/>
              <a:gd name="connsiteY4" fmla="*/ 6912738 h 6912738"/>
              <a:gd name="connsiteX5" fmla="*/ 3150655 w 9543237"/>
              <a:gd name="connsiteY5" fmla="*/ 6293030 h 6912738"/>
              <a:gd name="connsiteX6" fmla="*/ 0 w 9543237"/>
              <a:gd name="connsiteY6" fmla="*/ 1124633 h 6912738"/>
              <a:gd name="connsiteX0" fmla="*/ 0 w 9543237"/>
              <a:gd name="connsiteY0" fmla="*/ 1124633 h 6293030"/>
              <a:gd name="connsiteX1" fmla="*/ 5237940 w 9543237"/>
              <a:gd name="connsiteY1" fmla="*/ 0 h 6293030"/>
              <a:gd name="connsiteX2" fmla="*/ 9543237 w 9543237"/>
              <a:gd name="connsiteY2" fmla="*/ 2327425 h 6293030"/>
              <a:gd name="connsiteX3" fmla="*/ 9538925 w 9543237"/>
              <a:gd name="connsiteY3" fmla="*/ 5782739 h 6293030"/>
              <a:gd name="connsiteX4" fmla="*/ 3150655 w 9543237"/>
              <a:gd name="connsiteY4" fmla="*/ 6293030 h 6293030"/>
              <a:gd name="connsiteX5" fmla="*/ 0 w 9543237"/>
              <a:gd name="connsiteY5" fmla="*/ 1124633 h 6293030"/>
              <a:gd name="connsiteX0" fmla="*/ 0 w 9543237"/>
              <a:gd name="connsiteY0" fmla="*/ 1124633 h 6302268"/>
              <a:gd name="connsiteX1" fmla="*/ 5237940 w 9543237"/>
              <a:gd name="connsiteY1" fmla="*/ 0 h 6302268"/>
              <a:gd name="connsiteX2" fmla="*/ 9543237 w 9543237"/>
              <a:gd name="connsiteY2" fmla="*/ 2327425 h 6302268"/>
              <a:gd name="connsiteX3" fmla="*/ 3150655 w 9543237"/>
              <a:gd name="connsiteY3" fmla="*/ 6293030 h 6302268"/>
              <a:gd name="connsiteX4" fmla="*/ 0 w 9543237"/>
              <a:gd name="connsiteY4" fmla="*/ 1124633 h 6302268"/>
              <a:gd name="connsiteX0" fmla="*/ 0 w 9445594"/>
              <a:gd name="connsiteY0" fmla="*/ 1124633 h 6305662"/>
              <a:gd name="connsiteX1" fmla="*/ 5237940 w 9445594"/>
              <a:gd name="connsiteY1" fmla="*/ 0 h 6305662"/>
              <a:gd name="connsiteX2" fmla="*/ 9445594 w 9445594"/>
              <a:gd name="connsiteY2" fmla="*/ 3208271 h 6305662"/>
              <a:gd name="connsiteX3" fmla="*/ 3150655 w 9445594"/>
              <a:gd name="connsiteY3" fmla="*/ 6293030 h 6305662"/>
              <a:gd name="connsiteX4" fmla="*/ 0 w 9445594"/>
              <a:gd name="connsiteY4" fmla="*/ 1124633 h 6305662"/>
              <a:gd name="connsiteX0" fmla="*/ 0 w 9445594"/>
              <a:gd name="connsiteY0" fmla="*/ 0 h 5181029"/>
              <a:gd name="connsiteX1" fmla="*/ 9445594 w 9445594"/>
              <a:gd name="connsiteY1" fmla="*/ 2083638 h 5181029"/>
              <a:gd name="connsiteX2" fmla="*/ 3150655 w 9445594"/>
              <a:gd name="connsiteY2" fmla="*/ 5168397 h 5181029"/>
              <a:gd name="connsiteX3" fmla="*/ 0 w 9445594"/>
              <a:gd name="connsiteY3" fmla="*/ 0 h 5181029"/>
              <a:gd name="connsiteX0" fmla="*/ 0 w 9445594"/>
              <a:gd name="connsiteY0" fmla="*/ 0 h 5177226"/>
              <a:gd name="connsiteX1" fmla="*/ 9445594 w 9445594"/>
              <a:gd name="connsiteY1" fmla="*/ 2083638 h 5177226"/>
              <a:gd name="connsiteX2" fmla="*/ 3150655 w 9445594"/>
              <a:gd name="connsiteY2" fmla="*/ 5168397 h 5177226"/>
              <a:gd name="connsiteX3" fmla="*/ 0 w 9445594"/>
              <a:gd name="connsiteY3" fmla="*/ 0 h 5177226"/>
              <a:gd name="connsiteX0" fmla="*/ 0 w 9445594"/>
              <a:gd name="connsiteY0" fmla="*/ 0 h 5168397"/>
              <a:gd name="connsiteX1" fmla="*/ 9445594 w 9445594"/>
              <a:gd name="connsiteY1" fmla="*/ 2083638 h 5168397"/>
              <a:gd name="connsiteX2" fmla="*/ 3150655 w 9445594"/>
              <a:gd name="connsiteY2" fmla="*/ 5168397 h 5168397"/>
              <a:gd name="connsiteX3" fmla="*/ 0 w 9445594"/>
              <a:gd name="connsiteY3" fmla="*/ 0 h 5168397"/>
              <a:gd name="connsiteX0" fmla="*/ 0 w 11310584"/>
              <a:gd name="connsiteY0" fmla="*/ 0 h 5168397"/>
              <a:gd name="connsiteX1" fmla="*/ 11310584 w 11310584"/>
              <a:gd name="connsiteY1" fmla="*/ 368307 h 5168397"/>
              <a:gd name="connsiteX2" fmla="*/ 3150655 w 11310584"/>
              <a:gd name="connsiteY2" fmla="*/ 5168397 h 5168397"/>
              <a:gd name="connsiteX3" fmla="*/ 0 w 11310584"/>
              <a:gd name="connsiteY3" fmla="*/ 0 h 5168397"/>
              <a:gd name="connsiteX0" fmla="*/ 0 w 11310584"/>
              <a:gd name="connsiteY0" fmla="*/ 0 h 5531553"/>
              <a:gd name="connsiteX1" fmla="*/ 11310584 w 11310584"/>
              <a:gd name="connsiteY1" fmla="*/ 368307 h 5531553"/>
              <a:gd name="connsiteX2" fmla="*/ 8120708 w 11310584"/>
              <a:gd name="connsiteY2" fmla="*/ 5531553 h 5531553"/>
              <a:gd name="connsiteX3" fmla="*/ 0 w 11310584"/>
              <a:gd name="connsiteY3" fmla="*/ 0 h 5531553"/>
              <a:gd name="connsiteX0" fmla="*/ 0 w 9455359"/>
              <a:gd name="connsiteY0" fmla="*/ 2065608 h 5163246"/>
              <a:gd name="connsiteX1" fmla="*/ 9455359 w 9455359"/>
              <a:gd name="connsiteY1" fmla="*/ 0 h 5163246"/>
              <a:gd name="connsiteX2" fmla="*/ 6265483 w 9455359"/>
              <a:gd name="connsiteY2" fmla="*/ 5163246 h 5163246"/>
              <a:gd name="connsiteX3" fmla="*/ 0 w 9455359"/>
              <a:gd name="connsiteY3" fmla="*/ 2065608 h 5163246"/>
              <a:gd name="connsiteX0" fmla="*/ 0 w 10334150"/>
              <a:gd name="connsiteY0" fmla="*/ 4924493 h 5163246"/>
              <a:gd name="connsiteX1" fmla="*/ 10334150 w 10334150"/>
              <a:gd name="connsiteY1" fmla="*/ 0 h 5163246"/>
              <a:gd name="connsiteX2" fmla="*/ 7144274 w 10334150"/>
              <a:gd name="connsiteY2" fmla="*/ 5163246 h 5163246"/>
              <a:gd name="connsiteX3" fmla="*/ 0 w 10334150"/>
              <a:gd name="connsiteY3" fmla="*/ 4924493 h 5163246"/>
              <a:gd name="connsiteX0" fmla="*/ 0 w 7148170"/>
              <a:gd name="connsiteY0" fmla="*/ 5735798 h 5974551"/>
              <a:gd name="connsiteX1" fmla="*/ 7053330 w 7148170"/>
              <a:gd name="connsiteY1" fmla="*/ 0 h 5974551"/>
              <a:gd name="connsiteX2" fmla="*/ 7144274 w 7148170"/>
              <a:gd name="connsiteY2" fmla="*/ 5974551 h 5974551"/>
              <a:gd name="connsiteX3" fmla="*/ 0 w 7148170"/>
              <a:gd name="connsiteY3" fmla="*/ 5735798 h 5974551"/>
              <a:gd name="connsiteX0" fmla="*/ 0 w 7053330"/>
              <a:gd name="connsiteY0" fmla="*/ 5735798 h 5735798"/>
              <a:gd name="connsiteX1" fmla="*/ 7053330 w 7053330"/>
              <a:gd name="connsiteY1" fmla="*/ 0 h 5735798"/>
              <a:gd name="connsiteX2" fmla="*/ 5992081 w 7053330"/>
              <a:gd name="connsiteY2" fmla="*/ 3502002 h 5735798"/>
              <a:gd name="connsiteX3" fmla="*/ 0 w 7053330"/>
              <a:gd name="connsiteY3" fmla="*/ 5735798 h 5735798"/>
              <a:gd name="connsiteX0" fmla="*/ 0 w 7053330"/>
              <a:gd name="connsiteY0" fmla="*/ 5735798 h 5735798"/>
              <a:gd name="connsiteX1" fmla="*/ 7053330 w 7053330"/>
              <a:gd name="connsiteY1" fmla="*/ 0 h 5735798"/>
              <a:gd name="connsiteX2" fmla="*/ 7027102 w 7053330"/>
              <a:gd name="connsiteY2" fmla="*/ 4560562 h 5735798"/>
              <a:gd name="connsiteX3" fmla="*/ 0 w 7053330"/>
              <a:gd name="connsiteY3" fmla="*/ 5735798 h 5735798"/>
              <a:gd name="connsiteX0" fmla="*/ 0 w 7030558"/>
              <a:gd name="connsiteY0" fmla="*/ 5735798 h 5735798"/>
              <a:gd name="connsiteX1" fmla="*/ 6916628 w 7030558"/>
              <a:gd name="connsiteY1" fmla="*/ 0 h 5735798"/>
              <a:gd name="connsiteX2" fmla="*/ 7027102 w 7030558"/>
              <a:gd name="connsiteY2" fmla="*/ 4560562 h 5735798"/>
              <a:gd name="connsiteX3" fmla="*/ 0 w 7030558"/>
              <a:gd name="connsiteY3" fmla="*/ 5735798 h 5735798"/>
              <a:gd name="connsiteX0" fmla="*/ 0 w 7043565"/>
              <a:gd name="connsiteY0" fmla="*/ 5728071 h 5728071"/>
              <a:gd name="connsiteX1" fmla="*/ 7043565 w 7043565"/>
              <a:gd name="connsiteY1" fmla="*/ 0 h 5728071"/>
              <a:gd name="connsiteX2" fmla="*/ 7027102 w 7043565"/>
              <a:gd name="connsiteY2" fmla="*/ 4552835 h 5728071"/>
              <a:gd name="connsiteX3" fmla="*/ 0 w 7043565"/>
              <a:gd name="connsiteY3" fmla="*/ 5728071 h 57280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3565" h="5728071">
                <a:moveTo>
                  <a:pt x="0" y="5728071"/>
                </a:moveTo>
                <a:lnTo>
                  <a:pt x="7043565" y="0"/>
                </a:lnTo>
                <a:cubicBezTo>
                  <a:pt x="7027672" y="5732"/>
                  <a:pt x="7055345" y="4536952"/>
                  <a:pt x="7027102" y="4552835"/>
                </a:cubicBezTo>
                <a:lnTo>
                  <a:pt x="0" y="5728071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algn="r">
              <a:defRPr lang="en-US" b="0" dirty="0">
                <a:solidFill>
                  <a:schemeClr val="bg2"/>
                </a:solidFill>
                <a:ea typeface="Arial Regular" charset="0"/>
                <a:cs typeface="Arial Regular" charset="0"/>
              </a:defRPr>
            </a:lvl1pPr>
          </a:lstStyle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r>
              <a:rPr lang="en-US"/>
              <a:t> To insert picture, drag</a:t>
            </a:r>
            <a:br>
              <a:rPr lang="en-US"/>
            </a:br>
            <a:r>
              <a:rPr lang="en-US"/>
              <a:t> to placeholder</a:t>
            </a:r>
            <a:br>
              <a:rPr lang="en-US"/>
            </a:br>
            <a:r>
              <a:rPr lang="en-US"/>
              <a:t>or click icon to add.</a:t>
            </a:r>
          </a:p>
        </p:txBody>
      </p:sp>
      <p:sp>
        <p:nvSpPr>
          <p:cNvPr id="6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8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 userDrawn="1">
            <p:ph type="title"/>
          </p:nvPr>
        </p:nvSpPr>
        <p:spPr>
          <a:xfrm>
            <a:off x="609602" y="685800"/>
            <a:ext cx="6570132" cy="2455760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981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ub-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09602" y="685800"/>
            <a:ext cx="6570132" cy="2455760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Picture Placeholder 3"/>
          <p:cNvSpPr txBox="1">
            <a:spLocks/>
          </p:cNvSpPr>
          <p:nvPr userDrawn="1"/>
        </p:nvSpPr>
        <p:spPr>
          <a:xfrm>
            <a:off x="3288144" y="1475168"/>
            <a:ext cx="8294257" cy="5134725"/>
          </a:xfrm>
          <a:custGeom>
            <a:avLst/>
            <a:gdLst>
              <a:gd name="connsiteX0" fmla="*/ 3 w 2571750"/>
              <a:gd name="connsiteY0" fmla="*/ 982319 h 2571750"/>
              <a:gd name="connsiteX1" fmla="*/ 1285875 w 2571750"/>
              <a:gd name="connsiteY1" fmla="*/ 0 h 2571750"/>
              <a:gd name="connsiteX2" fmla="*/ 2571747 w 2571750"/>
              <a:gd name="connsiteY2" fmla="*/ 982319 h 2571750"/>
              <a:gd name="connsiteX3" fmla="*/ 2080588 w 2571750"/>
              <a:gd name="connsiteY3" fmla="*/ 2571743 h 2571750"/>
              <a:gd name="connsiteX4" fmla="*/ 491162 w 2571750"/>
              <a:gd name="connsiteY4" fmla="*/ 2571743 h 2571750"/>
              <a:gd name="connsiteX5" fmla="*/ 3 w 2571750"/>
              <a:gd name="connsiteY5" fmla="*/ 982319 h 2571750"/>
              <a:gd name="connsiteX0" fmla="*/ 0 w 2571744"/>
              <a:gd name="connsiteY0" fmla="*/ 1791944 h 3381368"/>
              <a:gd name="connsiteX1" fmla="*/ 1800222 w 2571744"/>
              <a:gd name="connsiteY1" fmla="*/ 0 h 3381368"/>
              <a:gd name="connsiteX2" fmla="*/ 2571744 w 2571744"/>
              <a:gd name="connsiteY2" fmla="*/ 1791944 h 3381368"/>
              <a:gd name="connsiteX3" fmla="*/ 2080585 w 2571744"/>
              <a:gd name="connsiteY3" fmla="*/ 3381368 h 3381368"/>
              <a:gd name="connsiteX4" fmla="*/ 491159 w 2571744"/>
              <a:gd name="connsiteY4" fmla="*/ 3381368 h 3381368"/>
              <a:gd name="connsiteX5" fmla="*/ 0 w 2571744"/>
              <a:gd name="connsiteY5" fmla="*/ 1791944 h 3381368"/>
              <a:gd name="connsiteX0" fmla="*/ 0 w 5010144"/>
              <a:gd name="connsiteY0" fmla="*/ 2458694 h 3381368"/>
              <a:gd name="connsiteX1" fmla="*/ 4238622 w 5010144"/>
              <a:gd name="connsiteY1" fmla="*/ 0 h 3381368"/>
              <a:gd name="connsiteX2" fmla="*/ 5010144 w 5010144"/>
              <a:gd name="connsiteY2" fmla="*/ 1791944 h 3381368"/>
              <a:gd name="connsiteX3" fmla="*/ 4518985 w 5010144"/>
              <a:gd name="connsiteY3" fmla="*/ 3381368 h 3381368"/>
              <a:gd name="connsiteX4" fmla="*/ 2929559 w 5010144"/>
              <a:gd name="connsiteY4" fmla="*/ 3381368 h 3381368"/>
              <a:gd name="connsiteX5" fmla="*/ 0 w 5010144"/>
              <a:gd name="connsiteY5" fmla="*/ 2458694 h 3381368"/>
              <a:gd name="connsiteX0" fmla="*/ 0 w 5010144"/>
              <a:gd name="connsiteY0" fmla="*/ 2458694 h 6905618"/>
              <a:gd name="connsiteX1" fmla="*/ 4238622 w 5010144"/>
              <a:gd name="connsiteY1" fmla="*/ 0 h 6905618"/>
              <a:gd name="connsiteX2" fmla="*/ 5010144 w 5010144"/>
              <a:gd name="connsiteY2" fmla="*/ 1791944 h 6905618"/>
              <a:gd name="connsiteX3" fmla="*/ 4518985 w 5010144"/>
              <a:gd name="connsiteY3" fmla="*/ 3381368 h 6905618"/>
              <a:gd name="connsiteX4" fmla="*/ 2872409 w 5010144"/>
              <a:gd name="connsiteY4" fmla="*/ 6905618 h 6905618"/>
              <a:gd name="connsiteX5" fmla="*/ 0 w 5010144"/>
              <a:gd name="connsiteY5" fmla="*/ 2458694 h 6905618"/>
              <a:gd name="connsiteX0" fmla="*/ 0 w 5319085"/>
              <a:gd name="connsiteY0" fmla="*/ 2458694 h 6905618"/>
              <a:gd name="connsiteX1" fmla="*/ 4238622 w 5319085"/>
              <a:gd name="connsiteY1" fmla="*/ 0 h 6905618"/>
              <a:gd name="connsiteX2" fmla="*/ 5010144 w 5319085"/>
              <a:gd name="connsiteY2" fmla="*/ 1791944 h 6905618"/>
              <a:gd name="connsiteX3" fmla="*/ 5319085 w 5319085"/>
              <a:gd name="connsiteY3" fmla="*/ 6867518 h 6905618"/>
              <a:gd name="connsiteX4" fmla="*/ 2872409 w 5319085"/>
              <a:gd name="connsiteY4" fmla="*/ 6905618 h 6905618"/>
              <a:gd name="connsiteX5" fmla="*/ 0 w 5319085"/>
              <a:gd name="connsiteY5" fmla="*/ 2458694 h 6905618"/>
              <a:gd name="connsiteX0" fmla="*/ 0 w 5319085"/>
              <a:gd name="connsiteY0" fmla="*/ 2458694 h 6896093"/>
              <a:gd name="connsiteX1" fmla="*/ 4238622 w 5319085"/>
              <a:gd name="connsiteY1" fmla="*/ 0 h 6896093"/>
              <a:gd name="connsiteX2" fmla="*/ 5010144 w 5319085"/>
              <a:gd name="connsiteY2" fmla="*/ 1791944 h 6896093"/>
              <a:gd name="connsiteX3" fmla="*/ 5319085 w 5319085"/>
              <a:gd name="connsiteY3" fmla="*/ 6867518 h 6896093"/>
              <a:gd name="connsiteX4" fmla="*/ 2862884 w 5319085"/>
              <a:gd name="connsiteY4" fmla="*/ 6896093 h 6896093"/>
              <a:gd name="connsiteX5" fmla="*/ 0 w 5319085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5319085 w 8543919"/>
              <a:gd name="connsiteY3" fmla="*/ 6867518 h 6896093"/>
              <a:gd name="connsiteX4" fmla="*/ 2862884 w 8543919"/>
              <a:gd name="connsiteY4" fmla="*/ 6896093 h 6896093"/>
              <a:gd name="connsiteX5" fmla="*/ 0 w 8543919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105772 w 8543919"/>
              <a:gd name="connsiteY3" fmla="*/ 30575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327425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02910 w 8527744"/>
              <a:gd name="connsiteY4" fmla="*/ 686751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523432 w 8527744"/>
              <a:gd name="connsiteY3" fmla="*/ 5782739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846709 w 8527744"/>
              <a:gd name="connsiteY5" fmla="*/ 689609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935665 w 8527744"/>
              <a:gd name="connsiteY5" fmla="*/ 687348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307659 w 8527744"/>
              <a:gd name="connsiteY5" fmla="*/ 6843336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170183 w 8527744"/>
              <a:gd name="connsiteY5" fmla="*/ 6911167 h 6912738"/>
              <a:gd name="connsiteX6" fmla="*/ 0 w 8527744"/>
              <a:gd name="connsiteY6" fmla="*/ 2353181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326491 w 9543237"/>
              <a:gd name="connsiteY4" fmla="*/ 6912738 h 6912738"/>
              <a:gd name="connsiteX5" fmla="*/ 4185676 w 9543237"/>
              <a:gd name="connsiteY5" fmla="*/ 6911167 h 6912738"/>
              <a:gd name="connsiteX6" fmla="*/ 0 w 9543237"/>
              <a:gd name="connsiteY6" fmla="*/ 1124633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326491 w 9543237"/>
              <a:gd name="connsiteY4" fmla="*/ 6912738 h 6912738"/>
              <a:gd name="connsiteX5" fmla="*/ 3150655 w 9543237"/>
              <a:gd name="connsiteY5" fmla="*/ 6293030 h 6912738"/>
              <a:gd name="connsiteX6" fmla="*/ 0 w 9543237"/>
              <a:gd name="connsiteY6" fmla="*/ 1124633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297198 w 9543237"/>
              <a:gd name="connsiteY4" fmla="*/ 6912738 h 6912738"/>
              <a:gd name="connsiteX5" fmla="*/ 3150655 w 9543237"/>
              <a:gd name="connsiteY5" fmla="*/ 6293030 h 6912738"/>
              <a:gd name="connsiteX6" fmla="*/ 0 w 9543237"/>
              <a:gd name="connsiteY6" fmla="*/ 1124633 h 6912738"/>
              <a:gd name="connsiteX0" fmla="*/ 0 w 9543237"/>
              <a:gd name="connsiteY0" fmla="*/ 1124633 h 6293030"/>
              <a:gd name="connsiteX1" fmla="*/ 5237940 w 9543237"/>
              <a:gd name="connsiteY1" fmla="*/ 0 h 6293030"/>
              <a:gd name="connsiteX2" fmla="*/ 9543237 w 9543237"/>
              <a:gd name="connsiteY2" fmla="*/ 2327425 h 6293030"/>
              <a:gd name="connsiteX3" fmla="*/ 9538925 w 9543237"/>
              <a:gd name="connsiteY3" fmla="*/ 5782739 h 6293030"/>
              <a:gd name="connsiteX4" fmla="*/ 3150655 w 9543237"/>
              <a:gd name="connsiteY4" fmla="*/ 6293030 h 6293030"/>
              <a:gd name="connsiteX5" fmla="*/ 0 w 9543237"/>
              <a:gd name="connsiteY5" fmla="*/ 1124633 h 6293030"/>
              <a:gd name="connsiteX0" fmla="*/ 0 w 9543237"/>
              <a:gd name="connsiteY0" fmla="*/ 1124633 h 6302268"/>
              <a:gd name="connsiteX1" fmla="*/ 5237940 w 9543237"/>
              <a:gd name="connsiteY1" fmla="*/ 0 h 6302268"/>
              <a:gd name="connsiteX2" fmla="*/ 9543237 w 9543237"/>
              <a:gd name="connsiteY2" fmla="*/ 2327425 h 6302268"/>
              <a:gd name="connsiteX3" fmla="*/ 3150655 w 9543237"/>
              <a:gd name="connsiteY3" fmla="*/ 6293030 h 6302268"/>
              <a:gd name="connsiteX4" fmla="*/ 0 w 9543237"/>
              <a:gd name="connsiteY4" fmla="*/ 1124633 h 6302268"/>
              <a:gd name="connsiteX0" fmla="*/ 0 w 9445594"/>
              <a:gd name="connsiteY0" fmla="*/ 1124633 h 6305662"/>
              <a:gd name="connsiteX1" fmla="*/ 5237940 w 9445594"/>
              <a:gd name="connsiteY1" fmla="*/ 0 h 6305662"/>
              <a:gd name="connsiteX2" fmla="*/ 9445594 w 9445594"/>
              <a:gd name="connsiteY2" fmla="*/ 3208271 h 6305662"/>
              <a:gd name="connsiteX3" fmla="*/ 3150655 w 9445594"/>
              <a:gd name="connsiteY3" fmla="*/ 6293030 h 6305662"/>
              <a:gd name="connsiteX4" fmla="*/ 0 w 9445594"/>
              <a:gd name="connsiteY4" fmla="*/ 1124633 h 6305662"/>
              <a:gd name="connsiteX0" fmla="*/ 0 w 9445594"/>
              <a:gd name="connsiteY0" fmla="*/ 0 h 5181029"/>
              <a:gd name="connsiteX1" fmla="*/ 9445594 w 9445594"/>
              <a:gd name="connsiteY1" fmla="*/ 2083638 h 5181029"/>
              <a:gd name="connsiteX2" fmla="*/ 3150655 w 9445594"/>
              <a:gd name="connsiteY2" fmla="*/ 5168397 h 5181029"/>
              <a:gd name="connsiteX3" fmla="*/ 0 w 9445594"/>
              <a:gd name="connsiteY3" fmla="*/ 0 h 5181029"/>
              <a:gd name="connsiteX0" fmla="*/ 0 w 9445594"/>
              <a:gd name="connsiteY0" fmla="*/ 0 h 5177226"/>
              <a:gd name="connsiteX1" fmla="*/ 9445594 w 9445594"/>
              <a:gd name="connsiteY1" fmla="*/ 2083638 h 5177226"/>
              <a:gd name="connsiteX2" fmla="*/ 3150655 w 9445594"/>
              <a:gd name="connsiteY2" fmla="*/ 5168397 h 5177226"/>
              <a:gd name="connsiteX3" fmla="*/ 0 w 9445594"/>
              <a:gd name="connsiteY3" fmla="*/ 0 h 5177226"/>
              <a:gd name="connsiteX0" fmla="*/ 0 w 9445594"/>
              <a:gd name="connsiteY0" fmla="*/ 0 h 5168397"/>
              <a:gd name="connsiteX1" fmla="*/ 9445594 w 9445594"/>
              <a:gd name="connsiteY1" fmla="*/ 2083638 h 5168397"/>
              <a:gd name="connsiteX2" fmla="*/ 3150655 w 9445594"/>
              <a:gd name="connsiteY2" fmla="*/ 5168397 h 5168397"/>
              <a:gd name="connsiteX3" fmla="*/ 0 w 9445594"/>
              <a:gd name="connsiteY3" fmla="*/ 0 h 5168397"/>
              <a:gd name="connsiteX0" fmla="*/ 0 w 11310584"/>
              <a:gd name="connsiteY0" fmla="*/ 0 h 5168397"/>
              <a:gd name="connsiteX1" fmla="*/ 11310584 w 11310584"/>
              <a:gd name="connsiteY1" fmla="*/ 368307 h 5168397"/>
              <a:gd name="connsiteX2" fmla="*/ 3150655 w 11310584"/>
              <a:gd name="connsiteY2" fmla="*/ 5168397 h 5168397"/>
              <a:gd name="connsiteX3" fmla="*/ 0 w 11310584"/>
              <a:gd name="connsiteY3" fmla="*/ 0 h 5168397"/>
              <a:gd name="connsiteX0" fmla="*/ 0 w 11310584"/>
              <a:gd name="connsiteY0" fmla="*/ 0 h 5531553"/>
              <a:gd name="connsiteX1" fmla="*/ 11310584 w 11310584"/>
              <a:gd name="connsiteY1" fmla="*/ 368307 h 5531553"/>
              <a:gd name="connsiteX2" fmla="*/ 8120708 w 11310584"/>
              <a:gd name="connsiteY2" fmla="*/ 5531553 h 5531553"/>
              <a:gd name="connsiteX3" fmla="*/ 0 w 11310584"/>
              <a:gd name="connsiteY3" fmla="*/ 0 h 5531553"/>
              <a:gd name="connsiteX0" fmla="*/ 0 w 9455359"/>
              <a:gd name="connsiteY0" fmla="*/ 2065608 h 5163246"/>
              <a:gd name="connsiteX1" fmla="*/ 9455359 w 9455359"/>
              <a:gd name="connsiteY1" fmla="*/ 0 h 5163246"/>
              <a:gd name="connsiteX2" fmla="*/ 6265483 w 9455359"/>
              <a:gd name="connsiteY2" fmla="*/ 5163246 h 5163246"/>
              <a:gd name="connsiteX3" fmla="*/ 0 w 9455359"/>
              <a:gd name="connsiteY3" fmla="*/ 2065608 h 5163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55359" h="5163246">
                <a:moveTo>
                  <a:pt x="0" y="2065608"/>
                </a:moveTo>
                <a:lnTo>
                  <a:pt x="9455359" y="0"/>
                </a:lnTo>
                <a:cubicBezTo>
                  <a:pt x="9439466" y="5732"/>
                  <a:pt x="6293726" y="5147363"/>
                  <a:pt x="6265483" y="5163246"/>
                </a:cubicBezTo>
                <a:lnTo>
                  <a:pt x="0" y="20656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>
              <a:defRPr b="0" i="0">
                <a:solidFill>
                  <a:schemeClr val="lt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sz="180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6457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ub-Divider w/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3288144" y="1475168"/>
            <a:ext cx="8294256" cy="5134725"/>
          </a:xfrm>
          <a:custGeom>
            <a:avLst/>
            <a:gdLst>
              <a:gd name="connsiteX0" fmla="*/ 3 w 2571750"/>
              <a:gd name="connsiteY0" fmla="*/ 982319 h 2571750"/>
              <a:gd name="connsiteX1" fmla="*/ 1285875 w 2571750"/>
              <a:gd name="connsiteY1" fmla="*/ 0 h 2571750"/>
              <a:gd name="connsiteX2" fmla="*/ 2571747 w 2571750"/>
              <a:gd name="connsiteY2" fmla="*/ 982319 h 2571750"/>
              <a:gd name="connsiteX3" fmla="*/ 2080588 w 2571750"/>
              <a:gd name="connsiteY3" fmla="*/ 2571743 h 2571750"/>
              <a:gd name="connsiteX4" fmla="*/ 491162 w 2571750"/>
              <a:gd name="connsiteY4" fmla="*/ 2571743 h 2571750"/>
              <a:gd name="connsiteX5" fmla="*/ 3 w 2571750"/>
              <a:gd name="connsiteY5" fmla="*/ 982319 h 2571750"/>
              <a:gd name="connsiteX0" fmla="*/ 0 w 2571744"/>
              <a:gd name="connsiteY0" fmla="*/ 1791944 h 3381368"/>
              <a:gd name="connsiteX1" fmla="*/ 1800222 w 2571744"/>
              <a:gd name="connsiteY1" fmla="*/ 0 h 3381368"/>
              <a:gd name="connsiteX2" fmla="*/ 2571744 w 2571744"/>
              <a:gd name="connsiteY2" fmla="*/ 1791944 h 3381368"/>
              <a:gd name="connsiteX3" fmla="*/ 2080585 w 2571744"/>
              <a:gd name="connsiteY3" fmla="*/ 3381368 h 3381368"/>
              <a:gd name="connsiteX4" fmla="*/ 491159 w 2571744"/>
              <a:gd name="connsiteY4" fmla="*/ 3381368 h 3381368"/>
              <a:gd name="connsiteX5" fmla="*/ 0 w 2571744"/>
              <a:gd name="connsiteY5" fmla="*/ 1791944 h 3381368"/>
              <a:gd name="connsiteX0" fmla="*/ 0 w 5010144"/>
              <a:gd name="connsiteY0" fmla="*/ 2458694 h 3381368"/>
              <a:gd name="connsiteX1" fmla="*/ 4238622 w 5010144"/>
              <a:gd name="connsiteY1" fmla="*/ 0 h 3381368"/>
              <a:gd name="connsiteX2" fmla="*/ 5010144 w 5010144"/>
              <a:gd name="connsiteY2" fmla="*/ 1791944 h 3381368"/>
              <a:gd name="connsiteX3" fmla="*/ 4518985 w 5010144"/>
              <a:gd name="connsiteY3" fmla="*/ 3381368 h 3381368"/>
              <a:gd name="connsiteX4" fmla="*/ 2929559 w 5010144"/>
              <a:gd name="connsiteY4" fmla="*/ 3381368 h 3381368"/>
              <a:gd name="connsiteX5" fmla="*/ 0 w 5010144"/>
              <a:gd name="connsiteY5" fmla="*/ 2458694 h 3381368"/>
              <a:gd name="connsiteX0" fmla="*/ 0 w 5010144"/>
              <a:gd name="connsiteY0" fmla="*/ 2458694 h 6905618"/>
              <a:gd name="connsiteX1" fmla="*/ 4238622 w 5010144"/>
              <a:gd name="connsiteY1" fmla="*/ 0 h 6905618"/>
              <a:gd name="connsiteX2" fmla="*/ 5010144 w 5010144"/>
              <a:gd name="connsiteY2" fmla="*/ 1791944 h 6905618"/>
              <a:gd name="connsiteX3" fmla="*/ 4518985 w 5010144"/>
              <a:gd name="connsiteY3" fmla="*/ 3381368 h 6905618"/>
              <a:gd name="connsiteX4" fmla="*/ 2872409 w 5010144"/>
              <a:gd name="connsiteY4" fmla="*/ 6905618 h 6905618"/>
              <a:gd name="connsiteX5" fmla="*/ 0 w 5010144"/>
              <a:gd name="connsiteY5" fmla="*/ 2458694 h 6905618"/>
              <a:gd name="connsiteX0" fmla="*/ 0 w 5319085"/>
              <a:gd name="connsiteY0" fmla="*/ 2458694 h 6905618"/>
              <a:gd name="connsiteX1" fmla="*/ 4238622 w 5319085"/>
              <a:gd name="connsiteY1" fmla="*/ 0 h 6905618"/>
              <a:gd name="connsiteX2" fmla="*/ 5010144 w 5319085"/>
              <a:gd name="connsiteY2" fmla="*/ 1791944 h 6905618"/>
              <a:gd name="connsiteX3" fmla="*/ 5319085 w 5319085"/>
              <a:gd name="connsiteY3" fmla="*/ 6867518 h 6905618"/>
              <a:gd name="connsiteX4" fmla="*/ 2872409 w 5319085"/>
              <a:gd name="connsiteY4" fmla="*/ 6905618 h 6905618"/>
              <a:gd name="connsiteX5" fmla="*/ 0 w 5319085"/>
              <a:gd name="connsiteY5" fmla="*/ 2458694 h 6905618"/>
              <a:gd name="connsiteX0" fmla="*/ 0 w 5319085"/>
              <a:gd name="connsiteY0" fmla="*/ 2458694 h 6896093"/>
              <a:gd name="connsiteX1" fmla="*/ 4238622 w 5319085"/>
              <a:gd name="connsiteY1" fmla="*/ 0 h 6896093"/>
              <a:gd name="connsiteX2" fmla="*/ 5010144 w 5319085"/>
              <a:gd name="connsiteY2" fmla="*/ 1791944 h 6896093"/>
              <a:gd name="connsiteX3" fmla="*/ 5319085 w 5319085"/>
              <a:gd name="connsiteY3" fmla="*/ 6867518 h 6896093"/>
              <a:gd name="connsiteX4" fmla="*/ 2862884 w 5319085"/>
              <a:gd name="connsiteY4" fmla="*/ 6896093 h 6896093"/>
              <a:gd name="connsiteX5" fmla="*/ 0 w 5319085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5319085 w 8543919"/>
              <a:gd name="connsiteY3" fmla="*/ 6867518 h 6896093"/>
              <a:gd name="connsiteX4" fmla="*/ 2862884 w 8543919"/>
              <a:gd name="connsiteY4" fmla="*/ 6896093 h 6896093"/>
              <a:gd name="connsiteX5" fmla="*/ 0 w 8543919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105772 w 8543919"/>
              <a:gd name="connsiteY3" fmla="*/ 30575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327425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02910 w 8527744"/>
              <a:gd name="connsiteY4" fmla="*/ 686751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523432 w 8527744"/>
              <a:gd name="connsiteY3" fmla="*/ 5782739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846709 w 8527744"/>
              <a:gd name="connsiteY5" fmla="*/ 689609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935665 w 8527744"/>
              <a:gd name="connsiteY5" fmla="*/ 687348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307659 w 8527744"/>
              <a:gd name="connsiteY5" fmla="*/ 6843336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170183 w 8527744"/>
              <a:gd name="connsiteY5" fmla="*/ 6911167 h 6912738"/>
              <a:gd name="connsiteX6" fmla="*/ 0 w 8527744"/>
              <a:gd name="connsiteY6" fmla="*/ 2353181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326491 w 9543237"/>
              <a:gd name="connsiteY4" fmla="*/ 6912738 h 6912738"/>
              <a:gd name="connsiteX5" fmla="*/ 4185676 w 9543237"/>
              <a:gd name="connsiteY5" fmla="*/ 6911167 h 6912738"/>
              <a:gd name="connsiteX6" fmla="*/ 0 w 9543237"/>
              <a:gd name="connsiteY6" fmla="*/ 1124633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326491 w 9543237"/>
              <a:gd name="connsiteY4" fmla="*/ 6912738 h 6912738"/>
              <a:gd name="connsiteX5" fmla="*/ 3150655 w 9543237"/>
              <a:gd name="connsiteY5" fmla="*/ 6293030 h 6912738"/>
              <a:gd name="connsiteX6" fmla="*/ 0 w 9543237"/>
              <a:gd name="connsiteY6" fmla="*/ 1124633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297198 w 9543237"/>
              <a:gd name="connsiteY4" fmla="*/ 6912738 h 6912738"/>
              <a:gd name="connsiteX5" fmla="*/ 3150655 w 9543237"/>
              <a:gd name="connsiteY5" fmla="*/ 6293030 h 6912738"/>
              <a:gd name="connsiteX6" fmla="*/ 0 w 9543237"/>
              <a:gd name="connsiteY6" fmla="*/ 1124633 h 6912738"/>
              <a:gd name="connsiteX0" fmla="*/ 0 w 9543237"/>
              <a:gd name="connsiteY0" fmla="*/ 1124633 h 6293030"/>
              <a:gd name="connsiteX1" fmla="*/ 5237940 w 9543237"/>
              <a:gd name="connsiteY1" fmla="*/ 0 h 6293030"/>
              <a:gd name="connsiteX2" fmla="*/ 9543237 w 9543237"/>
              <a:gd name="connsiteY2" fmla="*/ 2327425 h 6293030"/>
              <a:gd name="connsiteX3" fmla="*/ 9538925 w 9543237"/>
              <a:gd name="connsiteY3" fmla="*/ 5782739 h 6293030"/>
              <a:gd name="connsiteX4" fmla="*/ 3150655 w 9543237"/>
              <a:gd name="connsiteY4" fmla="*/ 6293030 h 6293030"/>
              <a:gd name="connsiteX5" fmla="*/ 0 w 9543237"/>
              <a:gd name="connsiteY5" fmla="*/ 1124633 h 6293030"/>
              <a:gd name="connsiteX0" fmla="*/ 0 w 9543237"/>
              <a:gd name="connsiteY0" fmla="*/ 1124633 h 6302268"/>
              <a:gd name="connsiteX1" fmla="*/ 5237940 w 9543237"/>
              <a:gd name="connsiteY1" fmla="*/ 0 h 6302268"/>
              <a:gd name="connsiteX2" fmla="*/ 9543237 w 9543237"/>
              <a:gd name="connsiteY2" fmla="*/ 2327425 h 6302268"/>
              <a:gd name="connsiteX3" fmla="*/ 3150655 w 9543237"/>
              <a:gd name="connsiteY3" fmla="*/ 6293030 h 6302268"/>
              <a:gd name="connsiteX4" fmla="*/ 0 w 9543237"/>
              <a:gd name="connsiteY4" fmla="*/ 1124633 h 6302268"/>
              <a:gd name="connsiteX0" fmla="*/ 0 w 9445594"/>
              <a:gd name="connsiteY0" fmla="*/ 1124633 h 6305662"/>
              <a:gd name="connsiteX1" fmla="*/ 5237940 w 9445594"/>
              <a:gd name="connsiteY1" fmla="*/ 0 h 6305662"/>
              <a:gd name="connsiteX2" fmla="*/ 9445594 w 9445594"/>
              <a:gd name="connsiteY2" fmla="*/ 3208271 h 6305662"/>
              <a:gd name="connsiteX3" fmla="*/ 3150655 w 9445594"/>
              <a:gd name="connsiteY3" fmla="*/ 6293030 h 6305662"/>
              <a:gd name="connsiteX4" fmla="*/ 0 w 9445594"/>
              <a:gd name="connsiteY4" fmla="*/ 1124633 h 6305662"/>
              <a:gd name="connsiteX0" fmla="*/ 0 w 9445594"/>
              <a:gd name="connsiteY0" fmla="*/ 0 h 5181029"/>
              <a:gd name="connsiteX1" fmla="*/ 9445594 w 9445594"/>
              <a:gd name="connsiteY1" fmla="*/ 2083638 h 5181029"/>
              <a:gd name="connsiteX2" fmla="*/ 3150655 w 9445594"/>
              <a:gd name="connsiteY2" fmla="*/ 5168397 h 5181029"/>
              <a:gd name="connsiteX3" fmla="*/ 0 w 9445594"/>
              <a:gd name="connsiteY3" fmla="*/ 0 h 5181029"/>
              <a:gd name="connsiteX0" fmla="*/ 0 w 9445594"/>
              <a:gd name="connsiteY0" fmla="*/ 0 h 5177226"/>
              <a:gd name="connsiteX1" fmla="*/ 9445594 w 9445594"/>
              <a:gd name="connsiteY1" fmla="*/ 2083638 h 5177226"/>
              <a:gd name="connsiteX2" fmla="*/ 3150655 w 9445594"/>
              <a:gd name="connsiteY2" fmla="*/ 5168397 h 5177226"/>
              <a:gd name="connsiteX3" fmla="*/ 0 w 9445594"/>
              <a:gd name="connsiteY3" fmla="*/ 0 h 5177226"/>
              <a:gd name="connsiteX0" fmla="*/ 0 w 9445594"/>
              <a:gd name="connsiteY0" fmla="*/ 0 h 5168397"/>
              <a:gd name="connsiteX1" fmla="*/ 9445594 w 9445594"/>
              <a:gd name="connsiteY1" fmla="*/ 2083638 h 5168397"/>
              <a:gd name="connsiteX2" fmla="*/ 3150655 w 9445594"/>
              <a:gd name="connsiteY2" fmla="*/ 5168397 h 5168397"/>
              <a:gd name="connsiteX3" fmla="*/ 0 w 9445594"/>
              <a:gd name="connsiteY3" fmla="*/ 0 h 5168397"/>
              <a:gd name="connsiteX0" fmla="*/ 0 w 11310584"/>
              <a:gd name="connsiteY0" fmla="*/ 0 h 5168397"/>
              <a:gd name="connsiteX1" fmla="*/ 11310584 w 11310584"/>
              <a:gd name="connsiteY1" fmla="*/ 368307 h 5168397"/>
              <a:gd name="connsiteX2" fmla="*/ 3150655 w 11310584"/>
              <a:gd name="connsiteY2" fmla="*/ 5168397 h 5168397"/>
              <a:gd name="connsiteX3" fmla="*/ 0 w 11310584"/>
              <a:gd name="connsiteY3" fmla="*/ 0 h 5168397"/>
              <a:gd name="connsiteX0" fmla="*/ 0 w 11310584"/>
              <a:gd name="connsiteY0" fmla="*/ 0 h 5531553"/>
              <a:gd name="connsiteX1" fmla="*/ 11310584 w 11310584"/>
              <a:gd name="connsiteY1" fmla="*/ 368307 h 5531553"/>
              <a:gd name="connsiteX2" fmla="*/ 8120708 w 11310584"/>
              <a:gd name="connsiteY2" fmla="*/ 5531553 h 5531553"/>
              <a:gd name="connsiteX3" fmla="*/ 0 w 11310584"/>
              <a:gd name="connsiteY3" fmla="*/ 0 h 5531553"/>
              <a:gd name="connsiteX0" fmla="*/ 0 w 9455359"/>
              <a:gd name="connsiteY0" fmla="*/ 2065608 h 5163246"/>
              <a:gd name="connsiteX1" fmla="*/ 9455359 w 9455359"/>
              <a:gd name="connsiteY1" fmla="*/ 0 h 5163246"/>
              <a:gd name="connsiteX2" fmla="*/ 6265483 w 9455359"/>
              <a:gd name="connsiteY2" fmla="*/ 5163246 h 5163246"/>
              <a:gd name="connsiteX3" fmla="*/ 0 w 9455359"/>
              <a:gd name="connsiteY3" fmla="*/ 2065608 h 5163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55359" h="5163246">
                <a:moveTo>
                  <a:pt x="0" y="2065608"/>
                </a:moveTo>
                <a:lnTo>
                  <a:pt x="9455359" y="0"/>
                </a:lnTo>
                <a:cubicBezTo>
                  <a:pt x="9439466" y="5732"/>
                  <a:pt x="6293726" y="5147363"/>
                  <a:pt x="6265483" y="5163246"/>
                </a:cubicBezTo>
                <a:lnTo>
                  <a:pt x="0" y="206560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bg2"/>
                </a:solidFill>
                <a:ea typeface="Arial Regular" charset="0"/>
                <a:cs typeface="Arial Regular" charset="0"/>
              </a:defRPr>
            </a:lvl1pPr>
          </a:lstStyle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r>
              <a:rPr lang="en-US"/>
              <a:t> To insert picture, drag to placeholder</a:t>
            </a:r>
            <a:br>
              <a:rPr lang="en-US"/>
            </a:br>
            <a:r>
              <a:rPr lang="en-US"/>
              <a:t>or click icon to add.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09602" y="685800"/>
            <a:ext cx="6570132" cy="2455760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877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ub-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09602" y="685800"/>
            <a:ext cx="6570132" cy="2455760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Freeform 20"/>
          <p:cNvSpPr/>
          <p:nvPr userDrawn="1"/>
        </p:nvSpPr>
        <p:spPr>
          <a:xfrm>
            <a:off x="2846477" y="1129120"/>
            <a:ext cx="7727852" cy="4757672"/>
          </a:xfrm>
          <a:custGeom>
            <a:avLst/>
            <a:gdLst>
              <a:gd name="connsiteX0" fmla="*/ 4944862 w 4944862"/>
              <a:gd name="connsiteY0" fmla="*/ 0 h 5095782"/>
              <a:gd name="connsiteX1" fmla="*/ 4944862 w 4944862"/>
              <a:gd name="connsiteY1" fmla="*/ 4048217 h 5095782"/>
              <a:gd name="connsiteX2" fmla="*/ 0 w 4944862"/>
              <a:gd name="connsiteY2" fmla="*/ 5095782 h 5095782"/>
              <a:gd name="connsiteX3" fmla="*/ 4944862 w 4944862"/>
              <a:gd name="connsiteY3" fmla="*/ 0 h 5095782"/>
              <a:gd name="connsiteX0" fmla="*/ 0 w 2459115"/>
              <a:gd name="connsiteY0" fmla="*/ 0 h 4048217"/>
              <a:gd name="connsiteX1" fmla="*/ 0 w 2459115"/>
              <a:gd name="connsiteY1" fmla="*/ 4048217 h 4048217"/>
              <a:gd name="connsiteX2" fmla="*/ 2459115 w 2459115"/>
              <a:gd name="connsiteY2" fmla="*/ 2006353 h 4048217"/>
              <a:gd name="connsiteX3" fmla="*/ 0 w 2459115"/>
              <a:gd name="connsiteY3" fmla="*/ 0 h 4048217"/>
              <a:gd name="connsiteX0" fmla="*/ 8877 w 2467992"/>
              <a:gd name="connsiteY0" fmla="*/ 0 h 2547891"/>
              <a:gd name="connsiteX1" fmla="*/ 0 w 2467992"/>
              <a:gd name="connsiteY1" fmla="*/ 2547891 h 2547891"/>
              <a:gd name="connsiteX2" fmla="*/ 2467992 w 2467992"/>
              <a:gd name="connsiteY2" fmla="*/ 2006353 h 2547891"/>
              <a:gd name="connsiteX3" fmla="*/ 8877 w 2467992"/>
              <a:gd name="connsiteY3" fmla="*/ 0 h 2547891"/>
              <a:gd name="connsiteX0" fmla="*/ 0 w 2459115"/>
              <a:gd name="connsiteY0" fmla="*/ 0 h 3062796"/>
              <a:gd name="connsiteX1" fmla="*/ 8878 w 2459115"/>
              <a:gd name="connsiteY1" fmla="*/ 3062796 h 3062796"/>
              <a:gd name="connsiteX2" fmla="*/ 2459115 w 2459115"/>
              <a:gd name="connsiteY2" fmla="*/ 2006353 h 3062796"/>
              <a:gd name="connsiteX3" fmla="*/ 0 w 2459115"/>
              <a:gd name="connsiteY3" fmla="*/ 0 h 3062796"/>
              <a:gd name="connsiteX0" fmla="*/ 0 w 2476871"/>
              <a:gd name="connsiteY0" fmla="*/ 0 h 3062796"/>
              <a:gd name="connsiteX1" fmla="*/ 8878 w 2476871"/>
              <a:gd name="connsiteY1" fmla="*/ 3062796 h 3062796"/>
              <a:gd name="connsiteX2" fmla="*/ 2476871 w 2476871"/>
              <a:gd name="connsiteY2" fmla="*/ 2024108 h 3062796"/>
              <a:gd name="connsiteX3" fmla="*/ 0 w 2476871"/>
              <a:gd name="connsiteY3" fmla="*/ 0 h 3062796"/>
              <a:gd name="connsiteX0" fmla="*/ 854 w 2477725"/>
              <a:gd name="connsiteY0" fmla="*/ 0 h 3071673"/>
              <a:gd name="connsiteX1" fmla="*/ 854 w 2477725"/>
              <a:gd name="connsiteY1" fmla="*/ 3071673 h 3071673"/>
              <a:gd name="connsiteX2" fmla="*/ 2477725 w 2477725"/>
              <a:gd name="connsiteY2" fmla="*/ 2024108 h 3071673"/>
              <a:gd name="connsiteX3" fmla="*/ 854 w 2477725"/>
              <a:gd name="connsiteY3" fmla="*/ 0 h 3071673"/>
              <a:gd name="connsiteX0" fmla="*/ 754351 w 3231222"/>
              <a:gd name="connsiteY0" fmla="*/ 0 h 4437430"/>
              <a:gd name="connsiteX1" fmla="*/ 8 w 3231222"/>
              <a:gd name="connsiteY1" fmla="*/ 4437430 h 4437430"/>
              <a:gd name="connsiteX2" fmla="*/ 3231222 w 3231222"/>
              <a:gd name="connsiteY2" fmla="*/ 2024108 h 4437430"/>
              <a:gd name="connsiteX3" fmla="*/ 754351 w 3231222"/>
              <a:gd name="connsiteY3" fmla="*/ 0 h 4437430"/>
              <a:gd name="connsiteX0" fmla="*/ 873458 w 3231222"/>
              <a:gd name="connsiteY0" fmla="*/ 0 h 3230482"/>
              <a:gd name="connsiteX1" fmla="*/ 8 w 3231222"/>
              <a:gd name="connsiteY1" fmla="*/ 3230482 h 3230482"/>
              <a:gd name="connsiteX2" fmla="*/ 3231222 w 3231222"/>
              <a:gd name="connsiteY2" fmla="*/ 817160 h 3230482"/>
              <a:gd name="connsiteX3" fmla="*/ 873458 w 3231222"/>
              <a:gd name="connsiteY3" fmla="*/ 0 h 3230482"/>
              <a:gd name="connsiteX0" fmla="*/ 659067 w 3231223"/>
              <a:gd name="connsiteY0" fmla="*/ 0 h 4040408"/>
              <a:gd name="connsiteX1" fmla="*/ 9 w 3231223"/>
              <a:gd name="connsiteY1" fmla="*/ 4040408 h 4040408"/>
              <a:gd name="connsiteX2" fmla="*/ 3231223 w 3231223"/>
              <a:gd name="connsiteY2" fmla="*/ 1627086 h 4040408"/>
              <a:gd name="connsiteX3" fmla="*/ 659067 w 3231223"/>
              <a:gd name="connsiteY3" fmla="*/ 0 h 4040408"/>
              <a:gd name="connsiteX0" fmla="*/ 659067 w 3231223"/>
              <a:gd name="connsiteY0" fmla="*/ 31 h 4040439"/>
              <a:gd name="connsiteX1" fmla="*/ 9 w 3231223"/>
              <a:gd name="connsiteY1" fmla="*/ 4040439 h 4040439"/>
              <a:gd name="connsiteX2" fmla="*/ 3231223 w 3231223"/>
              <a:gd name="connsiteY2" fmla="*/ 1627117 h 4040439"/>
              <a:gd name="connsiteX3" fmla="*/ 659067 w 3231223"/>
              <a:gd name="connsiteY3" fmla="*/ 31 h 4040439"/>
              <a:gd name="connsiteX0" fmla="*/ 659058 w 3231214"/>
              <a:gd name="connsiteY0" fmla="*/ 24 h 4040432"/>
              <a:gd name="connsiteX1" fmla="*/ 0 w 3231214"/>
              <a:gd name="connsiteY1" fmla="*/ 4040432 h 4040432"/>
              <a:gd name="connsiteX2" fmla="*/ 3231214 w 3231214"/>
              <a:gd name="connsiteY2" fmla="*/ 1627110 h 4040432"/>
              <a:gd name="connsiteX3" fmla="*/ 659058 w 3231214"/>
              <a:gd name="connsiteY3" fmla="*/ 24 h 4040432"/>
              <a:gd name="connsiteX0" fmla="*/ 6320598 w 8892754"/>
              <a:gd name="connsiteY0" fmla="*/ 26 h 3635471"/>
              <a:gd name="connsiteX1" fmla="*/ 0 w 8892754"/>
              <a:gd name="connsiteY1" fmla="*/ 3635471 h 3635471"/>
              <a:gd name="connsiteX2" fmla="*/ 8892754 w 8892754"/>
              <a:gd name="connsiteY2" fmla="*/ 1627112 h 3635471"/>
              <a:gd name="connsiteX3" fmla="*/ 6320598 w 8892754"/>
              <a:gd name="connsiteY3" fmla="*/ 26 h 3635471"/>
              <a:gd name="connsiteX0" fmla="*/ 6320598 w 6320612"/>
              <a:gd name="connsiteY0" fmla="*/ 26 h 4279221"/>
              <a:gd name="connsiteX1" fmla="*/ 0 w 6320612"/>
              <a:gd name="connsiteY1" fmla="*/ 3635471 h 4279221"/>
              <a:gd name="connsiteX2" fmla="*/ 5105160 w 6320612"/>
              <a:gd name="connsiteY2" fmla="*/ 4279221 h 4279221"/>
              <a:gd name="connsiteX3" fmla="*/ 6320598 w 6320612"/>
              <a:gd name="connsiteY3" fmla="*/ 26 h 4279221"/>
              <a:gd name="connsiteX0" fmla="*/ 6368241 w 6368254"/>
              <a:gd name="connsiteY0" fmla="*/ 27 h 4255401"/>
              <a:gd name="connsiteX1" fmla="*/ 0 w 6368254"/>
              <a:gd name="connsiteY1" fmla="*/ 3611651 h 4255401"/>
              <a:gd name="connsiteX2" fmla="*/ 5105160 w 6368254"/>
              <a:gd name="connsiteY2" fmla="*/ 4255401 h 4255401"/>
              <a:gd name="connsiteX3" fmla="*/ 6368241 w 6368254"/>
              <a:gd name="connsiteY3" fmla="*/ 27 h 4255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68254" h="4255401">
                <a:moveTo>
                  <a:pt x="6368241" y="27"/>
                </a:moveTo>
                <a:cubicBezTo>
                  <a:pt x="6379141" y="-11299"/>
                  <a:pt x="4982" y="3607096"/>
                  <a:pt x="0" y="3611651"/>
                </a:cubicBezTo>
                <a:lnTo>
                  <a:pt x="5105160" y="4255401"/>
                </a:lnTo>
                <a:lnTo>
                  <a:pt x="6368241" y="2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4911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w Divider w/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5554" y="3994952"/>
            <a:ext cx="9002647" cy="1012054"/>
          </a:xfrm>
        </p:spPr>
        <p:txBody>
          <a:bodyPr anchor="ctr" anchorCtr="0">
            <a:noAutofit/>
          </a:bodyPr>
          <a:lstStyle>
            <a:lvl1pPr algn="r">
              <a:lnSpc>
                <a:spcPct val="85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reeform 8"/>
          <p:cNvSpPr>
            <a:spLocks/>
          </p:cNvSpPr>
          <p:nvPr userDrawn="1"/>
        </p:nvSpPr>
        <p:spPr bwMode="auto">
          <a:xfrm>
            <a:off x="1" y="-4763"/>
            <a:ext cx="4977724" cy="2741613"/>
          </a:xfrm>
          <a:custGeom>
            <a:avLst/>
            <a:gdLst>
              <a:gd name="T0" fmla="*/ 0 w 2941"/>
              <a:gd name="T1" fmla="*/ 0 h 1727"/>
              <a:gd name="T2" fmla="*/ 0 w 2941"/>
              <a:gd name="T3" fmla="*/ 1353 h 1727"/>
              <a:gd name="T4" fmla="*/ 1476 w 2941"/>
              <a:gd name="T5" fmla="*/ 1727 h 1727"/>
              <a:gd name="T6" fmla="*/ 2941 w 2941"/>
              <a:gd name="T7" fmla="*/ 0 h 1727"/>
              <a:gd name="T8" fmla="*/ 0 w 2941"/>
              <a:gd name="T9" fmla="*/ 0 h 1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41" h="1727">
                <a:moveTo>
                  <a:pt x="0" y="0"/>
                </a:moveTo>
                <a:lnTo>
                  <a:pt x="0" y="1353"/>
                </a:lnTo>
                <a:lnTo>
                  <a:pt x="1476" y="1727"/>
                </a:lnTo>
                <a:lnTo>
                  <a:pt x="2941" y="0"/>
                </a:lnTo>
                <a:lnTo>
                  <a:pt x="0" y="0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-2" y="3"/>
            <a:ext cx="4996855" cy="2735825"/>
          </a:xfrm>
          <a:custGeom>
            <a:avLst/>
            <a:gdLst>
              <a:gd name="connsiteX0" fmla="*/ 3 w 2571750"/>
              <a:gd name="connsiteY0" fmla="*/ 982319 h 2571750"/>
              <a:gd name="connsiteX1" fmla="*/ 1285875 w 2571750"/>
              <a:gd name="connsiteY1" fmla="*/ 0 h 2571750"/>
              <a:gd name="connsiteX2" fmla="*/ 2571747 w 2571750"/>
              <a:gd name="connsiteY2" fmla="*/ 982319 h 2571750"/>
              <a:gd name="connsiteX3" fmla="*/ 2080588 w 2571750"/>
              <a:gd name="connsiteY3" fmla="*/ 2571743 h 2571750"/>
              <a:gd name="connsiteX4" fmla="*/ 491162 w 2571750"/>
              <a:gd name="connsiteY4" fmla="*/ 2571743 h 2571750"/>
              <a:gd name="connsiteX5" fmla="*/ 3 w 2571750"/>
              <a:gd name="connsiteY5" fmla="*/ 982319 h 2571750"/>
              <a:gd name="connsiteX0" fmla="*/ 0 w 2571744"/>
              <a:gd name="connsiteY0" fmla="*/ 1791944 h 3381368"/>
              <a:gd name="connsiteX1" fmla="*/ 1800222 w 2571744"/>
              <a:gd name="connsiteY1" fmla="*/ 0 h 3381368"/>
              <a:gd name="connsiteX2" fmla="*/ 2571744 w 2571744"/>
              <a:gd name="connsiteY2" fmla="*/ 1791944 h 3381368"/>
              <a:gd name="connsiteX3" fmla="*/ 2080585 w 2571744"/>
              <a:gd name="connsiteY3" fmla="*/ 3381368 h 3381368"/>
              <a:gd name="connsiteX4" fmla="*/ 491159 w 2571744"/>
              <a:gd name="connsiteY4" fmla="*/ 3381368 h 3381368"/>
              <a:gd name="connsiteX5" fmla="*/ 0 w 2571744"/>
              <a:gd name="connsiteY5" fmla="*/ 1791944 h 3381368"/>
              <a:gd name="connsiteX0" fmla="*/ 0 w 5010144"/>
              <a:gd name="connsiteY0" fmla="*/ 2458694 h 3381368"/>
              <a:gd name="connsiteX1" fmla="*/ 4238622 w 5010144"/>
              <a:gd name="connsiteY1" fmla="*/ 0 h 3381368"/>
              <a:gd name="connsiteX2" fmla="*/ 5010144 w 5010144"/>
              <a:gd name="connsiteY2" fmla="*/ 1791944 h 3381368"/>
              <a:gd name="connsiteX3" fmla="*/ 4518985 w 5010144"/>
              <a:gd name="connsiteY3" fmla="*/ 3381368 h 3381368"/>
              <a:gd name="connsiteX4" fmla="*/ 2929559 w 5010144"/>
              <a:gd name="connsiteY4" fmla="*/ 3381368 h 3381368"/>
              <a:gd name="connsiteX5" fmla="*/ 0 w 5010144"/>
              <a:gd name="connsiteY5" fmla="*/ 2458694 h 3381368"/>
              <a:gd name="connsiteX0" fmla="*/ 0 w 5010144"/>
              <a:gd name="connsiteY0" fmla="*/ 2458694 h 6905618"/>
              <a:gd name="connsiteX1" fmla="*/ 4238622 w 5010144"/>
              <a:gd name="connsiteY1" fmla="*/ 0 h 6905618"/>
              <a:gd name="connsiteX2" fmla="*/ 5010144 w 5010144"/>
              <a:gd name="connsiteY2" fmla="*/ 1791944 h 6905618"/>
              <a:gd name="connsiteX3" fmla="*/ 4518985 w 5010144"/>
              <a:gd name="connsiteY3" fmla="*/ 3381368 h 6905618"/>
              <a:gd name="connsiteX4" fmla="*/ 2872409 w 5010144"/>
              <a:gd name="connsiteY4" fmla="*/ 6905618 h 6905618"/>
              <a:gd name="connsiteX5" fmla="*/ 0 w 5010144"/>
              <a:gd name="connsiteY5" fmla="*/ 2458694 h 6905618"/>
              <a:gd name="connsiteX0" fmla="*/ 0 w 5319085"/>
              <a:gd name="connsiteY0" fmla="*/ 2458694 h 6905618"/>
              <a:gd name="connsiteX1" fmla="*/ 4238622 w 5319085"/>
              <a:gd name="connsiteY1" fmla="*/ 0 h 6905618"/>
              <a:gd name="connsiteX2" fmla="*/ 5010144 w 5319085"/>
              <a:gd name="connsiteY2" fmla="*/ 1791944 h 6905618"/>
              <a:gd name="connsiteX3" fmla="*/ 5319085 w 5319085"/>
              <a:gd name="connsiteY3" fmla="*/ 6867518 h 6905618"/>
              <a:gd name="connsiteX4" fmla="*/ 2872409 w 5319085"/>
              <a:gd name="connsiteY4" fmla="*/ 6905618 h 6905618"/>
              <a:gd name="connsiteX5" fmla="*/ 0 w 5319085"/>
              <a:gd name="connsiteY5" fmla="*/ 2458694 h 6905618"/>
              <a:gd name="connsiteX0" fmla="*/ 0 w 5319085"/>
              <a:gd name="connsiteY0" fmla="*/ 2458694 h 6896093"/>
              <a:gd name="connsiteX1" fmla="*/ 4238622 w 5319085"/>
              <a:gd name="connsiteY1" fmla="*/ 0 h 6896093"/>
              <a:gd name="connsiteX2" fmla="*/ 5010144 w 5319085"/>
              <a:gd name="connsiteY2" fmla="*/ 1791944 h 6896093"/>
              <a:gd name="connsiteX3" fmla="*/ 5319085 w 5319085"/>
              <a:gd name="connsiteY3" fmla="*/ 6867518 h 6896093"/>
              <a:gd name="connsiteX4" fmla="*/ 2862884 w 5319085"/>
              <a:gd name="connsiteY4" fmla="*/ 6896093 h 6896093"/>
              <a:gd name="connsiteX5" fmla="*/ 0 w 5319085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5319085 w 8543919"/>
              <a:gd name="connsiteY3" fmla="*/ 6867518 h 6896093"/>
              <a:gd name="connsiteX4" fmla="*/ 2862884 w 8543919"/>
              <a:gd name="connsiteY4" fmla="*/ 6896093 h 6896093"/>
              <a:gd name="connsiteX5" fmla="*/ 0 w 8543919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105772 w 8543919"/>
              <a:gd name="connsiteY3" fmla="*/ 30575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327425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02910 w 8527744"/>
              <a:gd name="connsiteY4" fmla="*/ 686751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523432 w 8527744"/>
              <a:gd name="connsiteY3" fmla="*/ 5782739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846709 w 8527744"/>
              <a:gd name="connsiteY5" fmla="*/ 689609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935665 w 8527744"/>
              <a:gd name="connsiteY5" fmla="*/ 687348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307659 w 8527744"/>
              <a:gd name="connsiteY5" fmla="*/ 6843336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170183 w 8527744"/>
              <a:gd name="connsiteY5" fmla="*/ 6911167 h 6912738"/>
              <a:gd name="connsiteX6" fmla="*/ 0 w 8527744"/>
              <a:gd name="connsiteY6" fmla="*/ 2353181 h 6912738"/>
              <a:gd name="connsiteX0" fmla="*/ 19260 w 8547004"/>
              <a:gd name="connsiteY0" fmla="*/ 2183568 h 6743125"/>
              <a:gd name="connsiteX1" fmla="*/ 0 w 8547004"/>
              <a:gd name="connsiteY1" fmla="*/ 0 h 6743125"/>
              <a:gd name="connsiteX2" fmla="*/ 8547004 w 8547004"/>
              <a:gd name="connsiteY2" fmla="*/ 2157812 h 6743125"/>
              <a:gd name="connsiteX3" fmla="*/ 8542692 w 8547004"/>
              <a:gd name="connsiteY3" fmla="*/ 5613126 h 6743125"/>
              <a:gd name="connsiteX4" fmla="*/ 5330258 w 8547004"/>
              <a:gd name="connsiteY4" fmla="*/ 6743125 h 6743125"/>
              <a:gd name="connsiteX5" fmla="*/ 3189443 w 8547004"/>
              <a:gd name="connsiteY5" fmla="*/ 6741554 h 6743125"/>
              <a:gd name="connsiteX6" fmla="*/ 19260 w 8547004"/>
              <a:gd name="connsiteY6" fmla="*/ 2183568 h 6743125"/>
              <a:gd name="connsiteX0" fmla="*/ 19260 w 8542692"/>
              <a:gd name="connsiteY0" fmla="*/ 2386090 h 6945647"/>
              <a:gd name="connsiteX1" fmla="*/ 0 w 8542692"/>
              <a:gd name="connsiteY1" fmla="*/ 202522 h 6945647"/>
              <a:gd name="connsiteX2" fmla="*/ 5974904 w 8542692"/>
              <a:gd name="connsiteY2" fmla="*/ 226786 h 6945647"/>
              <a:gd name="connsiteX3" fmla="*/ 8542692 w 8542692"/>
              <a:gd name="connsiteY3" fmla="*/ 5815648 h 6945647"/>
              <a:gd name="connsiteX4" fmla="*/ 5330258 w 8542692"/>
              <a:gd name="connsiteY4" fmla="*/ 6945647 h 6945647"/>
              <a:gd name="connsiteX5" fmla="*/ 3189443 w 8542692"/>
              <a:gd name="connsiteY5" fmla="*/ 6944076 h 6945647"/>
              <a:gd name="connsiteX6" fmla="*/ 19260 w 8542692"/>
              <a:gd name="connsiteY6" fmla="*/ 2386090 h 6945647"/>
              <a:gd name="connsiteX0" fmla="*/ 19260 w 8542692"/>
              <a:gd name="connsiteY0" fmla="*/ 2508665 h 7068222"/>
              <a:gd name="connsiteX1" fmla="*/ 0 w 8542692"/>
              <a:gd name="connsiteY1" fmla="*/ 325097 h 7068222"/>
              <a:gd name="connsiteX2" fmla="*/ 5974904 w 8542692"/>
              <a:gd name="connsiteY2" fmla="*/ 349361 h 7068222"/>
              <a:gd name="connsiteX3" fmla="*/ 8542692 w 8542692"/>
              <a:gd name="connsiteY3" fmla="*/ 5938223 h 7068222"/>
              <a:gd name="connsiteX4" fmla="*/ 5330258 w 8542692"/>
              <a:gd name="connsiteY4" fmla="*/ 7068222 h 7068222"/>
              <a:gd name="connsiteX5" fmla="*/ 3189443 w 8542692"/>
              <a:gd name="connsiteY5" fmla="*/ 7066651 h 7068222"/>
              <a:gd name="connsiteX6" fmla="*/ 19260 w 8542692"/>
              <a:gd name="connsiteY6" fmla="*/ 2508665 h 7068222"/>
              <a:gd name="connsiteX0" fmla="*/ 19260 w 8542692"/>
              <a:gd name="connsiteY0" fmla="*/ 2183568 h 6743125"/>
              <a:gd name="connsiteX1" fmla="*/ 0 w 8542692"/>
              <a:gd name="connsiteY1" fmla="*/ 0 h 6743125"/>
              <a:gd name="connsiteX2" fmla="*/ 5974904 w 8542692"/>
              <a:gd name="connsiteY2" fmla="*/ 24264 h 6743125"/>
              <a:gd name="connsiteX3" fmla="*/ 8542692 w 8542692"/>
              <a:gd name="connsiteY3" fmla="*/ 5613126 h 6743125"/>
              <a:gd name="connsiteX4" fmla="*/ 5330258 w 8542692"/>
              <a:gd name="connsiteY4" fmla="*/ 6743125 h 6743125"/>
              <a:gd name="connsiteX5" fmla="*/ 3189443 w 8542692"/>
              <a:gd name="connsiteY5" fmla="*/ 6741554 h 6743125"/>
              <a:gd name="connsiteX6" fmla="*/ 19260 w 8542692"/>
              <a:gd name="connsiteY6" fmla="*/ 2183568 h 6743125"/>
              <a:gd name="connsiteX0" fmla="*/ 19260 w 8542692"/>
              <a:gd name="connsiteY0" fmla="*/ 2183568 h 6743125"/>
              <a:gd name="connsiteX1" fmla="*/ 0 w 8542692"/>
              <a:gd name="connsiteY1" fmla="*/ 0 h 6743125"/>
              <a:gd name="connsiteX2" fmla="*/ 5974904 w 8542692"/>
              <a:gd name="connsiteY2" fmla="*/ 24264 h 6743125"/>
              <a:gd name="connsiteX3" fmla="*/ 8542692 w 8542692"/>
              <a:gd name="connsiteY3" fmla="*/ 5613126 h 6743125"/>
              <a:gd name="connsiteX4" fmla="*/ 5330258 w 8542692"/>
              <a:gd name="connsiteY4" fmla="*/ 6743125 h 6743125"/>
              <a:gd name="connsiteX5" fmla="*/ 1925957 w 8542692"/>
              <a:gd name="connsiteY5" fmla="*/ 2135232 h 6743125"/>
              <a:gd name="connsiteX6" fmla="*/ 19260 w 8542692"/>
              <a:gd name="connsiteY6" fmla="*/ 2183568 h 6743125"/>
              <a:gd name="connsiteX0" fmla="*/ 19260 w 8542692"/>
              <a:gd name="connsiteY0" fmla="*/ 2183568 h 5613126"/>
              <a:gd name="connsiteX1" fmla="*/ 0 w 8542692"/>
              <a:gd name="connsiteY1" fmla="*/ 0 h 5613126"/>
              <a:gd name="connsiteX2" fmla="*/ 5974904 w 8542692"/>
              <a:gd name="connsiteY2" fmla="*/ 24264 h 5613126"/>
              <a:gd name="connsiteX3" fmla="*/ 8542692 w 8542692"/>
              <a:gd name="connsiteY3" fmla="*/ 5613126 h 5613126"/>
              <a:gd name="connsiteX4" fmla="*/ 3491433 w 8542692"/>
              <a:gd name="connsiteY4" fmla="*/ 2413539 h 5613126"/>
              <a:gd name="connsiteX5" fmla="*/ 1925957 w 8542692"/>
              <a:gd name="connsiteY5" fmla="*/ 2135232 h 5613126"/>
              <a:gd name="connsiteX6" fmla="*/ 19260 w 8542692"/>
              <a:gd name="connsiteY6" fmla="*/ 2183568 h 5613126"/>
              <a:gd name="connsiteX0" fmla="*/ 19260 w 5974904"/>
              <a:gd name="connsiteY0" fmla="*/ 2183568 h 2413539"/>
              <a:gd name="connsiteX1" fmla="*/ 0 w 5974904"/>
              <a:gd name="connsiteY1" fmla="*/ 0 h 2413539"/>
              <a:gd name="connsiteX2" fmla="*/ 5974904 w 5974904"/>
              <a:gd name="connsiteY2" fmla="*/ 24264 h 2413539"/>
              <a:gd name="connsiteX3" fmla="*/ 4492763 w 5974904"/>
              <a:gd name="connsiteY3" fmla="*/ 1488861 h 2413539"/>
              <a:gd name="connsiteX4" fmla="*/ 3491433 w 5974904"/>
              <a:gd name="connsiteY4" fmla="*/ 2413539 h 2413539"/>
              <a:gd name="connsiteX5" fmla="*/ 1925957 w 5974904"/>
              <a:gd name="connsiteY5" fmla="*/ 2135232 h 2413539"/>
              <a:gd name="connsiteX6" fmla="*/ 19260 w 5974904"/>
              <a:gd name="connsiteY6" fmla="*/ 2183568 h 2413539"/>
              <a:gd name="connsiteX0" fmla="*/ 19260 w 5974904"/>
              <a:gd name="connsiteY0" fmla="*/ 2183568 h 2413539"/>
              <a:gd name="connsiteX1" fmla="*/ 0 w 5974904"/>
              <a:gd name="connsiteY1" fmla="*/ 0 h 2413539"/>
              <a:gd name="connsiteX2" fmla="*/ 5974904 w 5974904"/>
              <a:gd name="connsiteY2" fmla="*/ 24264 h 2413539"/>
              <a:gd name="connsiteX3" fmla="*/ 3691802 w 5974904"/>
              <a:gd name="connsiteY3" fmla="*/ 1006804 h 2413539"/>
              <a:gd name="connsiteX4" fmla="*/ 3491433 w 5974904"/>
              <a:gd name="connsiteY4" fmla="*/ 2413539 h 2413539"/>
              <a:gd name="connsiteX5" fmla="*/ 1925957 w 5974904"/>
              <a:gd name="connsiteY5" fmla="*/ 2135232 h 2413539"/>
              <a:gd name="connsiteX6" fmla="*/ 19260 w 5974904"/>
              <a:gd name="connsiteY6" fmla="*/ 2183568 h 2413539"/>
              <a:gd name="connsiteX0" fmla="*/ 19260 w 6065343"/>
              <a:gd name="connsiteY0" fmla="*/ 2183568 h 2413539"/>
              <a:gd name="connsiteX1" fmla="*/ 0 w 6065343"/>
              <a:gd name="connsiteY1" fmla="*/ 0 h 2413539"/>
              <a:gd name="connsiteX2" fmla="*/ 5974904 w 6065343"/>
              <a:gd name="connsiteY2" fmla="*/ 24264 h 2413539"/>
              <a:gd name="connsiteX3" fmla="*/ 3491433 w 6065343"/>
              <a:gd name="connsiteY3" fmla="*/ 2413539 h 2413539"/>
              <a:gd name="connsiteX4" fmla="*/ 1925957 w 6065343"/>
              <a:gd name="connsiteY4" fmla="*/ 2135232 h 2413539"/>
              <a:gd name="connsiteX5" fmla="*/ 19260 w 6065343"/>
              <a:gd name="connsiteY5" fmla="*/ 2183568 h 2413539"/>
              <a:gd name="connsiteX0" fmla="*/ 19260 w 6051096"/>
              <a:gd name="connsiteY0" fmla="*/ 2183568 h 2752765"/>
              <a:gd name="connsiteX1" fmla="*/ 0 w 6051096"/>
              <a:gd name="connsiteY1" fmla="*/ 0 h 2752765"/>
              <a:gd name="connsiteX2" fmla="*/ 5974904 w 6051096"/>
              <a:gd name="connsiteY2" fmla="*/ 24264 h 2752765"/>
              <a:gd name="connsiteX3" fmla="*/ 2961220 w 6051096"/>
              <a:gd name="connsiteY3" fmla="*/ 2752765 h 2752765"/>
              <a:gd name="connsiteX4" fmla="*/ 1925957 w 6051096"/>
              <a:gd name="connsiteY4" fmla="*/ 2135232 h 2752765"/>
              <a:gd name="connsiteX5" fmla="*/ 19260 w 6051096"/>
              <a:gd name="connsiteY5" fmla="*/ 2183568 h 2752765"/>
              <a:gd name="connsiteX0" fmla="*/ 19260 w 6051095"/>
              <a:gd name="connsiteY0" fmla="*/ 2183568 h 2752765"/>
              <a:gd name="connsiteX1" fmla="*/ 0 w 6051095"/>
              <a:gd name="connsiteY1" fmla="*/ 0 h 2752765"/>
              <a:gd name="connsiteX2" fmla="*/ 5974904 w 6051095"/>
              <a:gd name="connsiteY2" fmla="*/ 24264 h 2752765"/>
              <a:gd name="connsiteX3" fmla="*/ 2961220 w 6051095"/>
              <a:gd name="connsiteY3" fmla="*/ 2752765 h 2752765"/>
              <a:gd name="connsiteX4" fmla="*/ 1925957 w 6051095"/>
              <a:gd name="connsiteY4" fmla="*/ 2135232 h 2752765"/>
              <a:gd name="connsiteX5" fmla="*/ 19260 w 6051095"/>
              <a:gd name="connsiteY5" fmla="*/ 2183568 h 2752765"/>
              <a:gd name="connsiteX0" fmla="*/ 19260 w 6051095"/>
              <a:gd name="connsiteY0" fmla="*/ 2183568 h 2752765"/>
              <a:gd name="connsiteX1" fmla="*/ 0 w 6051095"/>
              <a:gd name="connsiteY1" fmla="*/ 0 h 2752765"/>
              <a:gd name="connsiteX2" fmla="*/ 5974904 w 6051095"/>
              <a:gd name="connsiteY2" fmla="*/ 24264 h 2752765"/>
              <a:gd name="connsiteX3" fmla="*/ 2961220 w 6051095"/>
              <a:gd name="connsiteY3" fmla="*/ 2752765 h 2752765"/>
              <a:gd name="connsiteX4" fmla="*/ 19260 w 6051095"/>
              <a:gd name="connsiteY4" fmla="*/ 2183568 h 2752765"/>
              <a:gd name="connsiteX0" fmla="*/ 19260 w 6041514"/>
              <a:gd name="connsiteY0" fmla="*/ 2183568 h 2752765"/>
              <a:gd name="connsiteX1" fmla="*/ 0 w 6041514"/>
              <a:gd name="connsiteY1" fmla="*/ 0 h 2752765"/>
              <a:gd name="connsiteX2" fmla="*/ 5974904 w 6041514"/>
              <a:gd name="connsiteY2" fmla="*/ 24264 h 2752765"/>
              <a:gd name="connsiteX3" fmla="*/ 2961220 w 6041514"/>
              <a:gd name="connsiteY3" fmla="*/ 2752765 h 2752765"/>
              <a:gd name="connsiteX4" fmla="*/ 19260 w 6041514"/>
              <a:gd name="connsiteY4" fmla="*/ 2183568 h 2752765"/>
              <a:gd name="connsiteX0" fmla="*/ 19260 w 6048000"/>
              <a:gd name="connsiteY0" fmla="*/ 2183568 h 2752765"/>
              <a:gd name="connsiteX1" fmla="*/ 0 w 6048000"/>
              <a:gd name="connsiteY1" fmla="*/ 0 h 2752765"/>
              <a:gd name="connsiteX2" fmla="*/ 5974904 w 6048000"/>
              <a:gd name="connsiteY2" fmla="*/ 24264 h 2752765"/>
              <a:gd name="connsiteX3" fmla="*/ 2961220 w 6048000"/>
              <a:gd name="connsiteY3" fmla="*/ 2752765 h 2752765"/>
              <a:gd name="connsiteX4" fmla="*/ 19260 w 6048000"/>
              <a:gd name="connsiteY4" fmla="*/ 2183568 h 2752765"/>
              <a:gd name="connsiteX0" fmla="*/ 19260 w 5974904"/>
              <a:gd name="connsiteY0" fmla="*/ 2183568 h 2752765"/>
              <a:gd name="connsiteX1" fmla="*/ 0 w 5974904"/>
              <a:gd name="connsiteY1" fmla="*/ 0 h 2752765"/>
              <a:gd name="connsiteX2" fmla="*/ 5974904 w 5974904"/>
              <a:gd name="connsiteY2" fmla="*/ 24264 h 2752765"/>
              <a:gd name="connsiteX3" fmla="*/ 2961220 w 5974904"/>
              <a:gd name="connsiteY3" fmla="*/ 2752765 h 2752765"/>
              <a:gd name="connsiteX4" fmla="*/ 19260 w 5974904"/>
              <a:gd name="connsiteY4" fmla="*/ 2183568 h 2752765"/>
              <a:gd name="connsiteX0" fmla="*/ 19260 w 5974904"/>
              <a:gd name="connsiteY0" fmla="*/ 2183568 h 2752765"/>
              <a:gd name="connsiteX1" fmla="*/ 0 w 5974904"/>
              <a:gd name="connsiteY1" fmla="*/ 0 h 2752765"/>
              <a:gd name="connsiteX2" fmla="*/ 5974904 w 5974904"/>
              <a:gd name="connsiteY2" fmla="*/ 24264 h 2752765"/>
              <a:gd name="connsiteX3" fmla="*/ 2961220 w 5974904"/>
              <a:gd name="connsiteY3" fmla="*/ 2752765 h 2752765"/>
              <a:gd name="connsiteX4" fmla="*/ 19260 w 5974904"/>
              <a:gd name="connsiteY4" fmla="*/ 2183568 h 2752765"/>
              <a:gd name="connsiteX0" fmla="*/ 0 w 5955644"/>
              <a:gd name="connsiteY0" fmla="*/ 2174641 h 2743838"/>
              <a:gd name="connsiteX1" fmla="*/ 14583 w 5955644"/>
              <a:gd name="connsiteY1" fmla="*/ 0 h 2743838"/>
              <a:gd name="connsiteX2" fmla="*/ 5955644 w 5955644"/>
              <a:gd name="connsiteY2" fmla="*/ 15337 h 2743838"/>
              <a:gd name="connsiteX3" fmla="*/ 2941960 w 5955644"/>
              <a:gd name="connsiteY3" fmla="*/ 2743838 h 2743838"/>
              <a:gd name="connsiteX4" fmla="*/ 0 w 5955644"/>
              <a:gd name="connsiteY4" fmla="*/ 2174641 h 2743838"/>
              <a:gd name="connsiteX0" fmla="*/ 0 w 5955644"/>
              <a:gd name="connsiteY0" fmla="*/ 2174641 h 2751022"/>
              <a:gd name="connsiteX1" fmla="*/ 14583 w 5955644"/>
              <a:gd name="connsiteY1" fmla="*/ 0 h 2751022"/>
              <a:gd name="connsiteX2" fmla="*/ 5955644 w 5955644"/>
              <a:gd name="connsiteY2" fmla="*/ 15337 h 2751022"/>
              <a:gd name="connsiteX3" fmla="*/ 2981299 w 5955644"/>
              <a:gd name="connsiteY3" fmla="*/ 2751022 h 2751022"/>
              <a:gd name="connsiteX4" fmla="*/ 0 w 5955644"/>
              <a:gd name="connsiteY4" fmla="*/ 2174641 h 2751022"/>
              <a:gd name="connsiteX0" fmla="*/ 0 w 5955644"/>
              <a:gd name="connsiteY0" fmla="*/ 2174641 h 2751022"/>
              <a:gd name="connsiteX1" fmla="*/ 14583 w 5955644"/>
              <a:gd name="connsiteY1" fmla="*/ 0 h 2751022"/>
              <a:gd name="connsiteX2" fmla="*/ 5955644 w 5955644"/>
              <a:gd name="connsiteY2" fmla="*/ 15337 h 2751022"/>
              <a:gd name="connsiteX3" fmla="*/ 2981299 w 5955644"/>
              <a:gd name="connsiteY3" fmla="*/ 2751022 h 2751022"/>
              <a:gd name="connsiteX4" fmla="*/ 0 w 5955644"/>
              <a:gd name="connsiteY4" fmla="*/ 2174641 h 275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55644" h="2751022">
                <a:moveTo>
                  <a:pt x="0" y="2174641"/>
                </a:moveTo>
                <a:lnTo>
                  <a:pt x="14583" y="0"/>
                </a:lnTo>
                <a:lnTo>
                  <a:pt x="5955644" y="15337"/>
                </a:lnTo>
                <a:cubicBezTo>
                  <a:pt x="5127408" y="747891"/>
                  <a:pt x="3467103" y="2300347"/>
                  <a:pt x="2981299" y="2751022"/>
                </a:cubicBezTo>
                <a:lnTo>
                  <a:pt x="0" y="2174641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t">
            <a:noAutofit/>
          </a:bodyPr>
          <a:lstStyle>
            <a:lvl1pPr>
              <a:defRPr lang="en-US" b="0" dirty="0">
                <a:solidFill>
                  <a:schemeClr val="bg2"/>
                </a:solidFill>
                <a:ea typeface="Arial Regular" charset="0"/>
                <a:cs typeface="Arial Regular" charset="0"/>
              </a:defRPr>
            </a:lvl1pPr>
          </a:lstStyle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endParaRPr lang="en-US"/>
          </a:p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r>
              <a:rPr lang="en-US"/>
              <a:t>To insert picture, drag to placeholder</a:t>
            </a:r>
            <a:br>
              <a:rPr lang="en-US"/>
            </a:br>
            <a:r>
              <a:rPr lang="en-US"/>
              <a:t>or click icon to add.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0" y="-4763"/>
            <a:ext cx="6225117" cy="4365626"/>
            <a:chOff x="0" y="-4763"/>
            <a:chExt cx="5838826" cy="4365626"/>
          </a:xfrm>
        </p:grpSpPr>
        <p:sp>
          <p:nvSpPr>
            <p:cNvPr id="30" name="Freeform 16"/>
            <p:cNvSpPr>
              <a:spLocks/>
            </p:cNvSpPr>
            <p:nvPr userDrawn="1"/>
          </p:nvSpPr>
          <p:spPr bwMode="auto">
            <a:xfrm>
              <a:off x="1616075" y="2735825"/>
              <a:ext cx="1582738" cy="787400"/>
            </a:xfrm>
            <a:custGeom>
              <a:avLst/>
              <a:gdLst>
                <a:gd name="T0" fmla="*/ 459 w 997"/>
                <a:gd name="T1" fmla="*/ 0 h 496"/>
                <a:gd name="T2" fmla="*/ 74 w 997"/>
                <a:gd name="T3" fmla="*/ 263 h 496"/>
                <a:gd name="T4" fmla="*/ 0 w 997"/>
                <a:gd name="T5" fmla="*/ 316 h 496"/>
                <a:gd name="T6" fmla="*/ 480 w 997"/>
                <a:gd name="T7" fmla="*/ 496 h 496"/>
                <a:gd name="T8" fmla="*/ 997 w 997"/>
                <a:gd name="T9" fmla="*/ 138 h 496"/>
                <a:gd name="T10" fmla="*/ 459 w 997"/>
                <a:gd name="T1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7" h="496">
                  <a:moveTo>
                    <a:pt x="459" y="0"/>
                  </a:moveTo>
                  <a:lnTo>
                    <a:pt x="74" y="263"/>
                  </a:lnTo>
                  <a:lnTo>
                    <a:pt x="0" y="316"/>
                  </a:lnTo>
                  <a:lnTo>
                    <a:pt x="480" y="496"/>
                  </a:lnTo>
                  <a:lnTo>
                    <a:pt x="997" y="138"/>
                  </a:lnTo>
                  <a:lnTo>
                    <a:pt x="459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14"/>
            <p:cNvSpPr>
              <a:spLocks/>
            </p:cNvSpPr>
            <p:nvPr userDrawn="1"/>
          </p:nvSpPr>
          <p:spPr bwMode="auto">
            <a:xfrm>
              <a:off x="0" y="2144713"/>
              <a:ext cx="2344738" cy="2216150"/>
            </a:xfrm>
            <a:custGeom>
              <a:avLst/>
              <a:gdLst>
                <a:gd name="T0" fmla="*/ 1477 w 1477"/>
                <a:gd name="T1" fmla="*/ 374 h 1396"/>
                <a:gd name="T2" fmla="*/ 0 w 1477"/>
                <a:gd name="T3" fmla="*/ 0 h 1396"/>
                <a:gd name="T4" fmla="*/ 0 w 1477"/>
                <a:gd name="T5" fmla="*/ 1396 h 1396"/>
                <a:gd name="T6" fmla="*/ 1477 w 1477"/>
                <a:gd name="T7" fmla="*/ 374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77" h="1396">
                  <a:moveTo>
                    <a:pt x="1477" y="374"/>
                  </a:moveTo>
                  <a:lnTo>
                    <a:pt x="0" y="0"/>
                  </a:lnTo>
                  <a:lnTo>
                    <a:pt x="0" y="1396"/>
                  </a:lnTo>
                  <a:lnTo>
                    <a:pt x="1477" y="374"/>
                  </a:lnTo>
                  <a:close/>
                </a:path>
              </a:pathLst>
            </a:custGeom>
            <a:solidFill>
              <a:srgbClr val="8AC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15"/>
            <p:cNvSpPr>
              <a:spLocks/>
            </p:cNvSpPr>
            <p:nvPr userDrawn="1"/>
          </p:nvSpPr>
          <p:spPr bwMode="auto">
            <a:xfrm>
              <a:off x="2344738" y="412750"/>
              <a:ext cx="3494088" cy="2743200"/>
            </a:xfrm>
            <a:custGeom>
              <a:avLst/>
              <a:gdLst>
                <a:gd name="T0" fmla="*/ 986 w 2201"/>
                <a:gd name="T1" fmla="*/ 300 h 1728"/>
                <a:gd name="T2" fmla="*/ 1238 w 2201"/>
                <a:gd name="T3" fmla="*/ 0 h 1728"/>
                <a:gd name="T4" fmla="*/ 1238 w 2201"/>
                <a:gd name="T5" fmla="*/ 0 h 1728"/>
                <a:gd name="T6" fmla="*/ 0 w 2201"/>
                <a:gd name="T7" fmla="*/ 1465 h 1728"/>
                <a:gd name="T8" fmla="*/ 1026 w 2201"/>
                <a:gd name="T9" fmla="*/ 1728 h 1728"/>
                <a:gd name="T10" fmla="*/ 2201 w 2201"/>
                <a:gd name="T11" fmla="*/ 982 h 1728"/>
                <a:gd name="T12" fmla="*/ 986 w 2201"/>
                <a:gd name="T13" fmla="*/ 300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1" h="1728">
                  <a:moveTo>
                    <a:pt x="986" y="300"/>
                  </a:moveTo>
                  <a:lnTo>
                    <a:pt x="1238" y="0"/>
                  </a:lnTo>
                  <a:lnTo>
                    <a:pt x="1238" y="0"/>
                  </a:lnTo>
                  <a:lnTo>
                    <a:pt x="0" y="1465"/>
                  </a:lnTo>
                  <a:lnTo>
                    <a:pt x="1026" y="1728"/>
                  </a:lnTo>
                  <a:lnTo>
                    <a:pt x="2201" y="982"/>
                  </a:lnTo>
                  <a:lnTo>
                    <a:pt x="986" y="300"/>
                  </a:lnTo>
                  <a:close/>
                </a:path>
              </a:pathLst>
            </a:custGeom>
            <a:solidFill>
              <a:srgbClr val="BAE3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18"/>
            <p:cNvSpPr>
              <a:spLocks/>
            </p:cNvSpPr>
            <p:nvPr userDrawn="1"/>
          </p:nvSpPr>
          <p:spPr bwMode="auto">
            <a:xfrm>
              <a:off x="4684713" y="-4763"/>
              <a:ext cx="1154113" cy="1976438"/>
            </a:xfrm>
            <a:custGeom>
              <a:avLst/>
              <a:gdLst>
                <a:gd name="T0" fmla="*/ 727 w 727"/>
                <a:gd name="T1" fmla="*/ 1245 h 1245"/>
                <a:gd name="T2" fmla="*/ 708 w 727"/>
                <a:gd name="T3" fmla="*/ 0 h 1245"/>
                <a:gd name="T4" fmla="*/ 0 w 727"/>
                <a:gd name="T5" fmla="*/ 0 h 1245"/>
                <a:gd name="T6" fmla="*/ 727 w 727"/>
                <a:gd name="T7" fmla="*/ 1245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7" h="1245">
                  <a:moveTo>
                    <a:pt x="727" y="1245"/>
                  </a:moveTo>
                  <a:lnTo>
                    <a:pt x="708" y="0"/>
                  </a:lnTo>
                  <a:lnTo>
                    <a:pt x="0" y="0"/>
                  </a:lnTo>
                  <a:lnTo>
                    <a:pt x="727" y="1245"/>
                  </a:lnTo>
                  <a:close/>
                </a:path>
              </a:pathLst>
            </a:custGeom>
            <a:solidFill>
              <a:srgbClr val="8AC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Freeform 19"/>
            <p:cNvSpPr>
              <a:spLocks/>
            </p:cNvSpPr>
            <p:nvPr userDrawn="1"/>
          </p:nvSpPr>
          <p:spPr bwMode="auto">
            <a:xfrm>
              <a:off x="3910013" y="-4763"/>
              <a:ext cx="1928813" cy="1976438"/>
            </a:xfrm>
            <a:custGeom>
              <a:avLst/>
              <a:gdLst>
                <a:gd name="T0" fmla="*/ 475 w 1215"/>
                <a:gd name="T1" fmla="*/ 0 h 1245"/>
                <a:gd name="T2" fmla="*/ 0 w 1215"/>
                <a:gd name="T3" fmla="*/ 563 h 1245"/>
                <a:gd name="T4" fmla="*/ 1215 w 1215"/>
                <a:gd name="T5" fmla="*/ 1245 h 1245"/>
                <a:gd name="T6" fmla="*/ 499 w 1215"/>
                <a:gd name="T7" fmla="*/ 0 h 1245"/>
                <a:gd name="T8" fmla="*/ 475 w 1215"/>
                <a:gd name="T9" fmla="*/ 0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5" h="1245">
                  <a:moveTo>
                    <a:pt x="475" y="0"/>
                  </a:moveTo>
                  <a:lnTo>
                    <a:pt x="0" y="563"/>
                  </a:lnTo>
                  <a:lnTo>
                    <a:pt x="1215" y="1245"/>
                  </a:lnTo>
                  <a:lnTo>
                    <a:pt x="499" y="0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12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New Divider w/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8754" y="2595178"/>
            <a:ext cx="9002647" cy="1614392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40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2" y="-4763"/>
            <a:ext cx="6391562" cy="3763964"/>
            <a:chOff x="0" y="-4763"/>
            <a:chExt cx="6388101" cy="3763964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6383338" cy="3754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5"/>
            <p:cNvSpPr>
              <a:spLocks/>
            </p:cNvSpPr>
            <p:nvPr userDrawn="1"/>
          </p:nvSpPr>
          <p:spPr bwMode="auto">
            <a:xfrm>
              <a:off x="1009650" y="-4763"/>
              <a:ext cx="2720975" cy="2070100"/>
            </a:xfrm>
            <a:custGeom>
              <a:avLst/>
              <a:gdLst>
                <a:gd name="T0" fmla="*/ 1081 w 1714"/>
                <a:gd name="T1" fmla="*/ 0 h 1304"/>
                <a:gd name="T2" fmla="*/ 609 w 1714"/>
                <a:gd name="T3" fmla="*/ 328 h 1304"/>
                <a:gd name="T4" fmla="*/ 0 w 1714"/>
                <a:gd name="T5" fmla="*/ 1304 h 1304"/>
                <a:gd name="T6" fmla="*/ 1714 w 1714"/>
                <a:gd name="T7" fmla="*/ 331 h 1304"/>
                <a:gd name="T8" fmla="*/ 1659 w 1714"/>
                <a:gd name="T9" fmla="*/ 0 h 1304"/>
                <a:gd name="T10" fmla="*/ 1081 w 1714"/>
                <a:gd name="T11" fmla="*/ 0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4" h="1304">
                  <a:moveTo>
                    <a:pt x="1081" y="0"/>
                  </a:moveTo>
                  <a:lnTo>
                    <a:pt x="609" y="328"/>
                  </a:lnTo>
                  <a:lnTo>
                    <a:pt x="0" y="1304"/>
                  </a:lnTo>
                  <a:lnTo>
                    <a:pt x="1714" y="331"/>
                  </a:lnTo>
                  <a:lnTo>
                    <a:pt x="1659" y="0"/>
                  </a:lnTo>
                  <a:lnTo>
                    <a:pt x="1081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3662363" y="-4763"/>
              <a:ext cx="2725738" cy="890588"/>
            </a:xfrm>
            <a:custGeom>
              <a:avLst/>
              <a:gdLst>
                <a:gd name="T0" fmla="*/ 0 w 1717"/>
                <a:gd name="T1" fmla="*/ 0 h 561"/>
                <a:gd name="T2" fmla="*/ 1022 w 1717"/>
                <a:gd name="T3" fmla="*/ 561 h 561"/>
                <a:gd name="T4" fmla="*/ 1717 w 1717"/>
                <a:gd name="T5" fmla="*/ 0 h 561"/>
                <a:gd name="T6" fmla="*/ 0 w 1717"/>
                <a:gd name="T7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7" h="561">
                  <a:moveTo>
                    <a:pt x="0" y="0"/>
                  </a:moveTo>
                  <a:lnTo>
                    <a:pt x="1022" y="561"/>
                  </a:lnTo>
                  <a:lnTo>
                    <a:pt x="17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C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7"/>
            <p:cNvSpPr>
              <a:spLocks/>
            </p:cNvSpPr>
            <p:nvPr userDrawn="1"/>
          </p:nvSpPr>
          <p:spPr bwMode="auto">
            <a:xfrm>
              <a:off x="3638484" y="-4763"/>
              <a:ext cx="1653446" cy="892957"/>
            </a:xfrm>
            <a:custGeom>
              <a:avLst/>
              <a:gdLst>
                <a:gd name="T0" fmla="*/ 0 w 1007"/>
                <a:gd name="T1" fmla="*/ 0 h 555"/>
                <a:gd name="T2" fmla="*/ 52 w 1007"/>
                <a:gd name="T3" fmla="*/ 319 h 555"/>
                <a:gd name="T4" fmla="*/ 1007 w 1007"/>
                <a:gd name="T5" fmla="*/ 555 h 555"/>
                <a:gd name="T6" fmla="*/ 9 w 1007"/>
                <a:gd name="T7" fmla="*/ 0 h 555"/>
                <a:gd name="T8" fmla="*/ 0 w 1007"/>
                <a:gd name="T9" fmla="*/ 0 h 555"/>
                <a:gd name="connsiteX0" fmla="*/ 0 w 10060"/>
                <a:gd name="connsiteY0" fmla="*/ 27 h 10000"/>
                <a:gd name="connsiteX1" fmla="*/ 576 w 10060"/>
                <a:gd name="connsiteY1" fmla="*/ 5748 h 10000"/>
                <a:gd name="connsiteX2" fmla="*/ 10060 w 10060"/>
                <a:gd name="connsiteY2" fmla="*/ 10000 h 10000"/>
                <a:gd name="connsiteX3" fmla="*/ 149 w 10060"/>
                <a:gd name="connsiteY3" fmla="*/ 0 h 10000"/>
                <a:gd name="connsiteX4" fmla="*/ 0 w 10060"/>
                <a:gd name="connsiteY4" fmla="*/ 27 h 10000"/>
                <a:gd name="connsiteX0" fmla="*/ 0 w 10060"/>
                <a:gd name="connsiteY0" fmla="*/ 27 h 10000"/>
                <a:gd name="connsiteX1" fmla="*/ 576 w 10060"/>
                <a:gd name="connsiteY1" fmla="*/ 5964 h 10000"/>
                <a:gd name="connsiteX2" fmla="*/ 10060 w 10060"/>
                <a:gd name="connsiteY2" fmla="*/ 10000 h 10000"/>
                <a:gd name="connsiteX3" fmla="*/ 149 w 10060"/>
                <a:gd name="connsiteY3" fmla="*/ 0 h 10000"/>
                <a:gd name="connsiteX4" fmla="*/ 0 w 10060"/>
                <a:gd name="connsiteY4" fmla="*/ 27 h 10000"/>
                <a:gd name="connsiteX0" fmla="*/ 0 w 10283"/>
                <a:gd name="connsiteY0" fmla="*/ 27 h 10135"/>
                <a:gd name="connsiteX1" fmla="*/ 576 w 10283"/>
                <a:gd name="connsiteY1" fmla="*/ 5964 h 10135"/>
                <a:gd name="connsiteX2" fmla="*/ 10283 w 10283"/>
                <a:gd name="connsiteY2" fmla="*/ 10135 h 10135"/>
                <a:gd name="connsiteX3" fmla="*/ 149 w 10283"/>
                <a:gd name="connsiteY3" fmla="*/ 0 h 10135"/>
                <a:gd name="connsiteX4" fmla="*/ 0 w 10283"/>
                <a:gd name="connsiteY4" fmla="*/ 27 h 10135"/>
                <a:gd name="connsiteX0" fmla="*/ 0 w 10343"/>
                <a:gd name="connsiteY0" fmla="*/ 27 h 10135"/>
                <a:gd name="connsiteX1" fmla="*/ 576 w 10343"/>
                <a:gd name="connsiteY1" fmla="*/ 5964 h 10135"/>
                <a:gd name="connsiteX2" fmla="*/ 10343 w 10343"/>
                <a:gd name="connsiteY2" fmla="*/ 10135 h 10135"/>
                <a:gd name="connsiteX3" fmla="*/ 149 w 10343"/>
                <a:gd name="connsiteY3" fmla="*/ 0 h 10135"/>
                <a:gd name="connsiteX4" fmla="*/ 0 w 10343"/>
                <a:gd name="connsiteY4" fmla="*/ 27 h 10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43" h="10135">
                  <a:moveTo>
                    <a:pt x="0" y="27"/>
                  </a:moveTo>
                  <a:lnTo>
                    <a:pt x="576" y="5964"/>
                  </a:lnTo>
                  <a:lnTo>
                    <a:pt x="10343" y="10135"/>
                  </a:lnTo>
                  <a:lnTo>
                    <a:pt x="149" y="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BAE3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8"/>
            <p:cNvSpPr>
              <a:spLocks/>
            </p:cNvSpPr>
            <p:nvPr userDrawn="1"/>
          </p:nvSpPr>
          <p:spPr bwMode="auto">
            <a:xfrm>
              <a:off x="0" y="-4763"/>
              <a:ext cx="2740025" cy="1943100"/>
            </a:xfrm>
            <a:custGeom>
              <a:avLst/>
              <a:gdLst>
                <a:gd name="T0" fmla="*/ 0 w 1726"/>
                <a:gd name="T1" fmla="*/ 0 h 1224"/>
                <a:gd name="T2" fmla="*/ 0 w 1726"/>
                <a:gd name="T3" fmla="*/ 1224 h 1224"/>
                <a:gd name="T4" fmla="*/ 1726 w 1726"/>
                <a:gd name="T5" fmla="*/ 0 h 1224"/>
                <a:gd name="T6" fmla="*/ 0 w 1726"/>
                <a:gd name="T7" fmla="*/ 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6" h="1224">
                  <a:moveTo>
                    <a:pt x="0" y="0"/>
                  </a:moveTo>
                  <a:lnTo>
                    <a:pt x="0" y="1224"/>
                  </a:lnTo>
                  <a:lnTo>
                    <a:pt x="17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AE3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auto">
            <a:xfrm>
              <a:off x="1" y="534158"/>
              <a:ext cx="1981184" cy="3225043"/>
            </a:xfrm>
            <a:custGeom>
              <a:avLst/>
              <a:gdLst>
                <a:gd name="T0" fmla="*/ 0 w 1224"/>
                <a:gd name="T1" fmla="*/ 868 h 2015"/>
                <a:gd name="T2" fmla="*/ 0 w 1224"/>
                <a:gd name="T3" fmla="*/ 2015 h 2015"/>
                <a:gd name="T4" fmla="*/ 1224 w 1224"/>
                <a:gd name="T5" fmla="*/ 0 h 2015"/>
                <a:gd name="T6" fmla="*/ 0 w 1224"/>
                <a:gd name="T7" fmla="*/ 868 h 2015"/>
                <a:gd name="connsiteX0" fmla="*/ 0 w 10159"/>
                <a:gd name="connsiteY0" fmla="*/ 4390 h 10082"/>
                <a:gd name="connsiteX1" fmla="*/ 0 w 10159"/>
                <a:gd name="connsiteY1" fmla="*/ 10082 h 10082"/>
                <a:gd name="connsiteX2" fmla="*/ 10159 w 10159"/>
                <a:gd name="connsiteY2" fmla="*/ 0 h 10082"/>
                <a:gd name="connsiteX3" fmla="*/ 0 w 10159"/>
                <a:gd name="connsiteY3" fmla="*/ 4390 h 10082"/>
                <a:gd name="connsiteX0" fmla="*/ 0 w 10196"/>
                <a:gd name="connsiteY0" fmla="*/ 4390 h 10082"/>
                <a:gd name="connsiteX1" fmla="*/ 0 w 10196"/>
                <a:gd name="connsiteY1" fmla="*/ 10082 h 10082"/>
                <a:gd name="connsiteX2" fmla="*/ 10196 w 10196"/>
                <a:gd name="connsiteY2" fmla="*/ 0 h 10082"/>
                <a:gd name="connsiteX3" fmla="*/ 0 w 10196"/>
                <a:gd name="connsiteY3" fmla="*/ 4390 h 10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96" h="10082">
                  <a:moveTo>
                    <a:pt x="0" y="4390"/>
                  </a:moveTo>
                  <a:lnTo>
                    <a:pt x="0" y="10082"/>
                  </a:lnTo>
                  <a:lnTo>
                    <a:pt x="10196" y="0"/>
                  </a:lnTo>
                  <a:lnTo>
                    <a:pt x="0" y="4390"/>
                  </a:lnTo>
                  <a:close/>
                </a:path>
              </a:pathLst>
            </a:custGeom>
            <a:solidFill>
              <a:srgbClr val="8AC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98754" y="4524108"/>
            <a:ext cx="9061449" cy="776288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defRPr lang="en-US" dirty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113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ew Divider w/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679647" y="1313863"/>
            <a:ext cx="4516455" cy="5533209"/>
          </a:xfrm>
          <a:custGeom>
            <a:avLst/>
            <a:gdLst>
              <a:gd name="connsiteX0" fmla="*/ 3 w 2571750"/>
              <a:gd name="connsiteY0" fmla="*/ 982319 h 2571750"/>
              <a:gd name="connsiteX1" fmla="*/ 1285875 w 2571750"/>
              <a:gd name="connsiteY1" fmla="*/ 0 h 2571750"/>
              <a:gd name="connsiteX2" fmla="*/ 2571747 w 2571750"/>
              <a:gd name="connsiteY2" fmla="*/ 982319 h 2571750"/>
              <a:gd name="connsiteX3" fmla="*/ 2080588 w 2571750"/>
              <a:gd name="connsiteY3" fmla="*/ 2571743 h 2571750"/>
              <a:gd name="connsiteX4" fmla="*/ 491162 w 2571750"/>
              <a:gd name="connsiteY4" fmla="*/ 2571743 h 2571750"/>
              <a:gd name="connsiteX5" fmla="*/ 3 w 2571750"/>
              <a:gd name="connsiteY5" fmla="*/ 982319 h 2571750"/>
              <a:gd name="connsiteX0" fmla="*/ 0 w 2571744"/>
              <a:gd name="connsiteY0" fmla="*/ 1791944 h 3381368"/>
              <a:gd name="connsiteX1" fmla="*/ 1800222 w 2571744"/>
              <a:gd name="connsiteY1" fmla="*/ 0 h 3381368"/>
              <a:gd name="connsiteX2" fmla="*/ 2571744 w 2571744"/>
              <a:gd name="connsiteY2" fmla="*/ 1791944 h 3381368"/>
              <a:gd name="connsiteX3" fmla="*/ 2080585 w 2571744"/>
              <a:gd name="connsiteY3" fmla="*/ 3381368 h 3381368"/>
              <a:gd name="connsiteX4" fmla="*/ 491159 w 2571744"/>
              <a:gd name="connsiteY4" fmla="*/ 3381368 h 3381368"/>
              <a:gd name="connsiteX5" fmla="*/ 0 w 2571744"/>
              <a:gd name="connsiteY5" fmla="*/ 1791944 h 3381368"/>
              <a:gd name="connsiteX0" fmla="*/ 0 w 5010144"/>
              <a:gd name="connsiteY0" fmla="*/ 2458694 h 3381368"/>
              <a:gd name="connsiteX1" fmla="*/ 4238622 w 5010144"/>
              <a:gd name="connsiteY1" fmla="*/ 0 h 3381368"/>
              <a:gd name="connsiteX2" fmla="*/ 5010144 w 5010144"/>
              <a:gd name="connsiteY2" fmla="*/ 1791944 h 3381368"/>
              <a:gd name="connsiteX3" fmla="*/ 4518985 w 5010144"/>
              <a:gd name="connsiteY3" fmla="*/ 3381368 h 3381368"/>
              <a:gd name="connsiteX4" fmla="*/ 2929559 w 5010144"/>
              <a:gd name="connsiteY4" fmla="*/ 3381368 h 3381368"/>
              <a:gd name="connsiteX5" fmla="*/ 0 w 5010144"/>
              <a:gd name="connsiteY5" fmla="*/ 2458694 h 3381368"/>
              <a:gd name="connsiteX0" fmla="*/ 0 w 5010144"/>
              <a:gd name="connsiteY0" fmla="*/ 2458694 h 6905618"/>
              <a:gd name="connsiteX1" fmla="*/ 4238622 w 5010144"/>
              <a:gd name="connsiteY1" fmla="*/ 0 h 6905618"/>
              <a:gd name="connsiteX2" fmla="*/ 5010144 w 5010144"/>
              <a:gd name="connsiteY2" fmla="*/ 1791944 h 6905618"/>
              <a:gd name="connsiteX3" fmla="*/ 4518985 w 5010144"/>
              <a:gd name="connsiteY3" fmla="*/ 3381368 h 6905618"/>
              <a:gd name="connsiteX4" fmla="*/ 2872409 w 5010144"/>
              <a:gd name="connsiteY4" fmla="*/ 6905618 h 6905618"/>
              <a:gd name="connsiteX5" fmla="*/ 0 w 5010144"/>
              <a:gd name="connsiteY5" fmla="*/ 2458694 h 6905618"/>
              <a:gd name="connsiteX0" fmla="*/ 0 w 5319085"/>
              <a:gd name="connsiteY0" fmla="*/ 2458694 h 6905618"/>
              <a:gd name="connsiteX1" fmla="*/ 4238622 w 5319085"/>
              <a:gd name="connsiteY1" fmla="*/ 0 h 6905618"/>
              <a:gd name="connsiteX2" fmla="*/ 5010144 w 5319085"/>
              <a:gd name="connsiteY2" fmla="*/ 1791944 h 6905618"/>
              <a:gd name="connsiteX3" fmla="*/ 5319085 w 5319085"/>
              <a:gd name="connsiteY3" fmla="*/ 6867518 h 6905618"/>
              <a:gd name="connsiteX4" fmla="*/ 2872409 w 5319085"/>
              <a:gd name="connsiteY4" fmla="*/ 6905618 h 6905618"/>
              <a:gd name="connsiteX5" fmla="*/ 0 w 5319085"/>
              <a:gd name="connsiteY5" fmla="*/ 2458694 h 6905618"/>
              <a:gd name="connsiteX0" fmla="*/ 0 w 5319085"/>
              <a:gd name="connsiteY0" fmla="*/ 2458694 h 6896093"/>
              <a:gd name="connsiteX1" fmla="*/ 4238622 w 5319085"/>
              <a:gd name="connsiteY1" fmla="*/ 0 h 6896093"/>
              <a:gd name="connsiteX2" fmla="*/ 5010144 w 5319085"/>
              <a:gd name="connsiteY2" fmla="*/ 1791944 h 6896093"/>
              <a:gd name="connsiteX3" fmla="*/ 5319085 w 5319085"/>
              <a:gd name="connsiteY3" fmla="*/ 6867518 h 6896093"/>
              <a:gd name="connsiteX4" fmla="*/ 2862884 w 5319085"/>
              <a:gd name="connsiteY4" fmla="*/ 6896093 h 6896093"/>
              <a:gd name="connsiteX5" fmla="*/ 0 w 5319085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5319085 w 8543919"/>
              <a:gd name="connsiteY3" fmla="*/ 6867518 h 6896093"/>
              <a:gd name="connsiteX4" fmla="*/ 2862884 w 8543919"/>
              <a:gd name="connsiteY4" fmla="*/ 6896093 h 6896093"/>
              <a:gd name="connsiteX5" fmla="*/ 0 w 8543919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105772 w 8543919"/>
              <a:gd name="connsiteY3" fmla="*/ 30575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327425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02910 w 8527744"/>
              <a:gd name="connsiteY4" fmla="*/ 686751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523432 w 8527744"/>
              <a:gd name="connsiteY3" fmla="*/ 5782739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846709 w 8527744"/>
              <a:gd name="connsiteY5" fmla="*/ 689609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935665 w 8527744"/>
              <a:gd name="connsiteY5" fmla="*/ 687348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307659 w 8527744"/>
              <a:gd name="connsiteY5" fmla="*/ 6843336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170183 w 8527744"/>
              <a:gd name="connsiteY5" fmla="*/ 6911167 h 6912738"/>
              <a:gd name="connsiteX6" fmla="*/ 0 w 8527744"/>
              <a:gd name="connsiteY6" fmla="*/ 2353181 h 6912738"/>
              <a:gd name="connsiteX0" fmla="*/ 19260 w 8547004"/>
              <a:gd name="connsiteY0" fmla="*/ 2183568 h 6743125"/>
              <a:gd name="connsiteX1" fmla="*/ 0 w 8547004"/>
              <a:gd name="connsiteY1" fmla="*/ 0 h 6743125"/>
              <a:gd name="connsiteX2" fmla="*/ 8547004 w 8547004"/>
              <a:gd name="connsiteY2" fmla="*/ 2157812 h 6743125"/>
              <a:gd name="connsiteX3" fmla="*/ 8542692 w 8547004"/>
              <a:gd name="connsiteY3" fmla="*/ 5613126 h 6743125"/>
              <a:gd name="connsiteX4" fmla="*/ 5330258 w 8547004"/>
              <a:gd name="connsiteY4" fmla="*/ 6743125 h 6743125"/>
              <a:gd name="connsiteX5" fmla="*/ 3189443 w 8547004"/>
              <a:gd name="connsiteY5" fmla="*/ 6741554 h 6743125"/>
              <a:gd name="connsiteX6" fmla="*/ 19260 w 8547004"/>
              <a:gd name="connsiteY6" fmla="*/ 2183568 h 6743125"/>
              <a:gd name="connsiteX0" fmla="*/ 19260 w 8542692"/>
              <a:gd name="connsiteY0" fmla="*/ 2386090 h 6945647"/>
              <a:gd name="connsiteX1" fmla="*/ 0 w 8542692"/>
              <a:gd name="connsiteY1" fmla="*/ 202522 h 6945647"/>
              <a:gd name="connsiteX2" fmla="*/ 5974904 w 8542692"/>
              <a:gd name="connsiteY2" fmla="*/ 226786 h 6945647"/>
              <a:gd name="connsiteX3" fmla="*/ 8542692 w 8542692"/>
              <a:gd name="connsiteY3" fmla="*/ 5815648 h 6945647"/>
              <a:gd name="connsiteX4" fmla="*/ 5330258 w 8542692"/>
              <a:gd name="connsiteY4" fmla="*/ 6945647 h 6945647"/>
              <a:gd name="connsiteX5" fmla="*/ 3189443 w 8542692"/>
              <a:gd name="connsiteY5" fmla="*/ 6944076 h 6945647"/>
              <a:gd name="connsiteX6" fmla="*/ 19260 w 8542692"/>
              <a:gd name="connsiteY6" fmla="*/ 2386090 h 6945647"/>
              <a:gd name="connsiteX0" fmla="*/ 19260 w 8542692"/>
              <a:gd name="connsiteY0" fmla="*/ 2508665 h 7068222"/>
              <a:gd name="connsiteX1" fmla="*/ 0 w 8542692"/>
              <a:gd name="connsiteY1" fmla="*/ 325097 h 7068222"/>
              <a:gd name="connsiteX2" fmla="*/ 5974904 w 8542692"/>
              <a:gd name="connsiteY2" fmla="*/ 349361 h 7068222"/>
              <a:gd name="connsiteX3" fmla="*/ 8542692 w 8542692"/>
              <a:gd name="connsiteY3" fmla="*/ 5938223 h 7068222"/>
              <a:gd name="connsiteX4" fmla="*/ 5330258 w 8542692"/>
              <a:gd name="connsiteY4" fmla="*/ 7068222 h 7068222"/>
              <a:gd name="connsiteX5" fmla="*/ 3189443 w 8542692"/>
              <a:gd name="connsiteY5" fmla="*/ 7066651 h 7068222"/>
              <a:gd name="connsiteX6" fmla="*/ 19260 w 8542692"/>
              <a:gd name="connsiteY6" fmla="*/ 2508665 h 7068222"/>
              <a:gd name="connsiteX0" fmla="*/ 19260 w 8542692"/>
              <a:gd name="connsiteY0" fmla="*/ 2183568 h 6743125"/>
              <a:gd name="connsiteX1" fmla="*/ 0 w 8542692"/>
              <a:gd name="connsiteY1" fmla="*/ 0 h 6743125"/>
              <a:gd name="connsiteX2" fmla="*/ 5974904 w 8542692"/>
              <a:gd name="connsiteY2" fmla="*/ 24264 h 6743125"/>
              <a:gd name="connsiteX3" fmla="*/ 8542692 w 8542692"/>
              <a:gd name="connsiteY3" fmla="*/ 5613126 h 6743125"/>
              <a:gd name="connsiteX4" fmla="*/ 5330258 w 8542692"/>
              <a:gd name="connsiteY4" fmla="*/ 6743125 h 6743125"/>
              <a:gd name="connsiteX5" fmla="*/ 3189443 w 8542692"/>
              <a:gd name="connsiteY5" fmla="*/ 6741554 h 6743125"/>
              <a:gd name="connsiteX6" fmla="*/ 19260 w 8542692"/>
              <a:gd name="connsiteY6" fmla="*/ 2183568 h 6743125"/>
              <a:gd name="connsiteX0" fmla="*/ 19260 w 8542692"/>
              <a:gd name="connsiteY0" fmla="*/ 2183568 h 6743125"/>
              <a:gd name="connsiteX1" fmla="*/ 0 w 8542692"/>
              <a:gd name="connsiteY1" fmla="*/ 0 h 6743125"/>
              <a:gd name="connsiteX2" fmla="*/ 5974904 w 8542692"/>
              <a:gd name="connsiteY2" fmla="*/ 24264 h 6743125"/>
              <a:gd name="connsiteX3" fmla="*/ 8542692 w 8542692"/>
              <a:gd name="connsiteY3" fmla="*/ 5613126 h 6743125"/>
              <a:gd name="connsiteX4" fmla="*/ 5330258 w 8542692"/>
              <a:gd name="connsiteY4" fmla="*/ 6743125 h 6743125"/>
              <a:gd name="connsiteX5" fmla="*/ 1925957 w 8542692"/>
              <a:gd name="connsiteY5" fmla="*/ 2135232 h 6743125"/>
              <a:gd name="connsiteX6" fmla="*/ 19260 w 8542692"/>
              <a:gd name="connsiteY6" fmla="*/ 2183568 h 6743125"/>
              <a:gd name="connsiteX0" fmla="*/ 19260 w 8542692"/>
              <a:gd name="connsiteY0" fmla="*/ 2183568 h 5613126"/>
              <a:gd name="connsiteX1" fmla="*/ 0 w 8542692"/>
              <a:gd name="connsiteY1" fmla="*/ 0 h 5613126"/>
              <a:gd name="connsiteX2" fmla="*/ 5974904 w 8542692"/>
              <a:gd name="connsiteY2" fmla="*/ 24264 h 5613126"/>
              <a:gd name="connsiteX3" fmla="*/ 8542692 w 8542692"/>
              <a:gd name="connsiteY3" fmla="*/ 5613126 h 5613126"/>
              <a:gd name="connsiteX4" fmla="*/ 3491433 w 8542692"/>
              <a:gd name="connsiteY4" fmla="*/ 2413539 h 5613126"/>
              <a:gd name="connsiteX5" fmla="*/ 1925957 w 8542692"/>
              <a:gd name="connsiteY5" fmla="*/ 2135232 h 5613126"/>
              <a:gd name="connsiteX6" fmla="*/ 19260 w 8542692"/>
              <a:gd name="connsiteY6" fmla="*/ 2183568 h 5613126"/>
              <a:gd name="connsiteX0" fmla="*/ 19260 w 5974904"/>
              <a:gd name="connsiteY0" fmla="*/ 2183568 h 2413539"/>
              <a:gd name="connsiteX1" fmla="*/ 0 w 5974904"/>
              <a:gd name="connsiteY1" fmla="*/ 0 h 2413539"/>
              <a:gd name="connsiteX2" fmla="*/ 5974904 w 5974904"/>
              <a:gd name="connsiteY2" fmla="*/ 24264 h 2413539"/>
              <a:gd name="connsiteX3" fmla="*/ 4492763 w 5974904"/>
              <a:gd name="connsiteY3" fmla="*/ 1488861 h 2413539"/>
              <a:gd name="connsiteX4" fmla="*/ 3491433 w 5974904"/>
              <a:gd name="connsiteY4" fmla="*/ 2413539 h 2413539"/>
              <a:gd name="connsiteX5" fmla="*/ 1925957 w 5974904"/>
              <a:gd name="connsiteY5" fmla="*/ 2135232 h 2413539"/>
              <a:gd name="connsiteX6" fmla="*/ 19260 w 5974904"/>
              <a:gd name="connsiteY6" fmla="*/ 2183568 h 2413539"/>
              <a:gd name="connsiteX0" fmla="*/ 19260 w 5974904"/>
              <a:gd name="connsiteY0" fmla="*/ 2183568 h 2413539"/>
              <a:gd name="connsiteX1" fmla="*/ 0 w 5974904"/>
              <a:gd name="connsiteY1" fmla="*/ 0 h 2413539"/>
              <a:gd name="connsiteX2" fmla="*/ 5974904 w 5974904"/>
              <a:gd name="connsiteY2" fmla="*/ 24264 h 2413539"/>
              <a:gd name="connsiteX3" fmla="*/ 3691802 w 5974904"/>
              <a:gd name="connsiteY3" fmla="*/ 1006804 h 2413539"/>
              <a:gd name="connsiteX4" fmla="*/ 3491433 w 5974904"/>
              <a:gd name="connsiteY4" fmla="*/ 2413539 h 2413539"/>
              <a:gd name="connsiteX5" fmla="*/ 1925957 w 5974904"/>
              <a:gd name="connsiteY5" fmla="*/ 2135232 h 2413539"/>
              <a:gd name="connsiteX6" fmla="*/ 19260 w 5974904"/>
              <a:gd name="connsiteY6" fmla="*/ 2183568 h 2413539"/>
              <a:gd name="connsiteX0" fmla="*/ 19260 w 6065343"/>
              <a:gd name="connsiteY0" fmla="*/ 2183568 h 2413539"/>
              <a:gd name="connsiteX1" fmla="*/ 0 w 6065343"/>
              <a:gd name="connsiteY1" fmla="*/ 0 h 2413539"/>
              <a:gd name="connsiteX2" fmla="*/ 5974904 w 6065343"/>
              <a:gd name="connsiteY2" fmla="*/ 24264 h 2413539"/>
              <a:gd name="connsiteX3" fmla="*/ 3491433 w 6065343"/>
              <a:gd name="connsiteY3" fmla="*/ 2413539 h 2413539"/>
              <a:gd name="connsiteX4" fmla="*/ 1925957 w 6065343"/>
              <a:gd name="connsiteY4" fmla="*/ 2135232 h 2413539"/>
              <a:gd name="connsiteX5" fmla="*/ 19260 w 6065343"/>
              <a:gd name="connsiteY5" fmla="*/ 2183568 h 2413539"/>
              <a:gd name="connsiteX0" fmla="*/ 19260 w 6051096"/>
              <a:gd name="connsiteY0" fmla="*/ 2183568 h 2752765"/>
              <a:gd name="connsiteX1" fmla="*/ 0 w 6051096"/>
              <a:gd name="connsiteY1" fmla="*/ 0 h 2752765"/>
              <a:gd name="connsiteX2" fmla="*/ 5974904 w 6051096"/>
              <a:gd name="connsiteY2" fmla="*/ 24264 h 2752765"/>
              <a:gd name="connsiteX3" fmla="*/ 2961220 w 6051096"/>
              <a:gd name="connsiteY3" fmla="*/ 2752765 h 2752765"/>
              <a:gd name="connsiteX4" fmla="*/ 1925957 w 6051096"/>
              <a:gd name="connsiteY4" fmla="*/ 2135232 h 2752765"/>
              <a:gd name="connsiteX5" fmla="*/ 19260 w 6051096"/>
              <a:gd name="connsiteY5" fmla="*/ 2183568 h 2752765"/>
              <a:gd name="connsiteX0" fmla="*/ 19260 w 6051095"/>
              <a:gd name="connsiteY0" fmla="*/ 2183568 h 2752765"/>
              <a:gd name="connsiteX1" fmla="*/ 0 w 6051095"/>
              <a:gd name="connsiteY1" fmla="*/ 0 h 2752765"/>
              <a:gd name="connsiteX2" fmla="*/ 5974904 w 6051095"/>
              <a:gd name="connsiteY2" fmla="*/ 24264 h 2752765"/>
              <a:gd name="connsiteX3" fmla="*/ 2961220 w 6051095"/>
              <a:gd name="connsiteY3" fmla="*/ 2752765 h 2752765"/>
              <a:gd name="connsiteX4" fmla="*/ 1925957 w 6051095"/>
              <a:gd name="connsiteY4" fmla="*/ 2135232 h 2752765"/>
              <a:gd name="connsiteX5" fmla="*/ 19260 w 6051095"/>
              <a:gd name="connsiteY5" fmla="*/ 2183568 h 2752765"/>
              <a:gd name="connsiteX0" fmla="*/ 19260 w 6051095"/>
              <a:gd name="connsiteY0" fmla="*/ 2183568 h 2752765"/>
              <a:gd name="connsiteX1" fmla="*/ 0 w 6051095"/>
              <a:gd name="connsiteY1" fmla="*/ 0 h 2752765"/>
              <a:gd name="connsiteX2" fmla="*/ 5974904 w 6051095"/>
              <a:gd name="connsiteY2" fmla="*/ 24264 h 2752765"/>
              <a:gd name="connsiteX3" fmla="*/ 2961220 w 6051095"/>
              <a:gd name="connsiteY3" fmla="*/ 2752765 h 2752765"/>
              <a:gd name="connsiteX4" fmla="*/ 19260 w 6051095"/>
              <a:gd name="connsiteY4" fmla="*/ 2183568 h 2752765"/>
              <a:gd name="connsiteX0" fmla="*/ 19260 w 6041514"/>
              <a:gd name="connsiteY0" fmla="*/ 2183568 h 2752765"/>
              <a:gd name="connsiteX1" fmla="*/ 0 w 6041514"/>
              <a:gd name="connsiteY1" fmla="*/ 0 h 2752765"/>
              <a:gd name="connsiteX2" fmla="*/ 5974904 w 6041514"/>
              <a:gd name="connsiteY2" fmla="*/ 24264 h 2752765"/>
              <a:gd name="connsiteX3" fmla="*/ 2961220 w 6041514"/>
              <a:gd name="connsiteY3" fmla="*/ 2752765 h 2752765"/>
              <a:gd name="connsiteX4" fmla="*/ 19260 w 6041514"/>
              <a:gd name="connsiteY4" fmla="*/ 2183568 h 2752765"/>
              <a:gd name="connsiteX0" fmla="*/ 19260 w 6048000"/>
              <a:gd name="connsiteY0" fmla="*/ 2183568 h 2752765"/>
              <a:gd name="connsiteX1" fmla="*/ 0 w 6048000"/>
              <a:gd name="connsiteY1" fmla="*/ 0 h 2752765"/>
              <a:gd name="connsiteX2" fmla="*/ 5974904 w 6048000"/>
              <a:gd name="connsiteY2" fmla="*/ 24264 h 2752765"/>
              <a:gd name="connsiteX3" fmla="*/ 2961220 w 6048000"/>
              <a:gd name="connsiteY3" fmla="*/ 2752765 h 2752765"/>
              <a:gd name="connsiteX4" fmla="*/ 19260 w 6048000"/>
              <a:gd name="connsiteY4" fmla="*/ 2183568 h 2752765"/>
              <a:gd name="connsiteX0" fmla="*/ 19260 w 5974904"/>
              <a:gd name="connsiteY0" fmla="*/ 2183568 h 2752765"/>
              <a:gd name="connsiteX1" fmla="*/ 0 w 5974904"/>
              <a:gd name="connsiteY1" fmla="*/ 0 h 2752765"/>
              <a:gd name="connsiteX2" fmla="*/ 5974904 w 5974904"/>
              <a:gd name="connsiteY2" fmla="*/ 24264 h 2752765"/>
              <a:gd name="connsiteX3" fmla="*/ 2961220 w 5974904"/>
              <a:gd name="connsiteY3" fmla="*/ 2752765 h 2752765"/>
              <a:gd name="connsiteX4" fmla="*/ 19260 w 5974904"/>
              <a:gd name="connsiteY4" fmla="*/ 2183568 h 2752765"/>
              <a:gd name="connsiteX0" fmla="*/ 19260 w 5974904"/>
              <a:gd name="connsiteY0" fmla="*/ 2183568 h 2752765"/>
              <a:gd name="connsiteX1" fmla="*/ 0 w 5974904"/>
              <a:gd name="connsiteY1" fmla="*/ 0 h 2752765"/>
              <a:gd name="connsiteX2" fmla="*/ 5974904 w 5974904"/>
              <a:gd name="connsiteY2" fmla="*/ 24264 h 2752765"/>
              <a:gd name="connsiteX3" fmla="*/ 2961220 w 5974904"/>
              <a:gd name="connsiteY3" fmla="*/ 2752765 h 2752765"/>
              <a:gd name="connsiteX4" fmla="*/ 19260 w 5974904"/>
              <a:gd name="connsiteY4" fmla="*/ 2183568 h 2752765"/>
              <a:gd name="connsiteX0" fmla="*/ 0 w 5955644"/>
              <a:gd name="connsiteY0" fmla="*/ 2174641 h 2743838"/>
              <a:gd name="connsiteX1" fmla="*/ 14583 w 5955644"/>
              <a:gd name="connsiteY1" fmla="*/ 0 h 2743838"/>
              <a:gd name="connsiteX2" fmla="*/ 5955644 w 5955644"/>
              <a:gd name="connsiteY2" fmla="*/ 15337 h 2743838"/>
              <a:gd name="connsiteX3" fmla="*/ 2941960 w 5955644"/>
              <a:gd name="connsiteY3" fmla="*/ 2743838 h 2743838"/>
              <a:gd name="connsiteX4" fmla="*/ 0 w 5955644"/>
              <a:gd name="connsiteY4" fmla="*/ 2174641 h 2743838"/>
              <a:gd name="connsiteX0" fmla="*/ 0 w 5955644"/>
              <a:gd name="connsiteY0" fmla="*/ 2174641 h 2751022"/>
              <a:gd name="connsiteX1" fmla="*/ 14583 w 5955644"/>
              <a:gd name="connsiteY1" fmla="*/ 0 h 2751022"/>
              <a:gd name="connsiteX2" fmla="*/ 5955644 w 5955644"/>
              <a:gd name="connsiteY2" fmla="*/ 15337 h 2751022"/>
              <a:gd name="connsiteX3" fmla="*/ 2981299 w 5955644"/>
              <a:gd name="connsiteY3" fmla="*/ 2751022 h 2751022"/>
              <a:gd name="connsiteX4" fmla="*/ 0 w 5955644"/>
              <a:gd name="connsiteY4" fmla="*/ 2174641 h 2751022"/>
              <a:gd name="connsiteX0" fmla="*/ 0 w 5955644"/>
              <a:gd name="connsiteY0" fmla="*/ 2174641 h 2751022"/>
              <a:gd name="connsiteX1" fmla="*/ 14583 w 5955644"/>
              <a:gd name="connsiteY1" fmla="*/ 0 h 2751022"/>
              <a:gd name="connsiteX2" fmla="*/ 5955644 w 5955644"/>
              <a:gd name="connsiteY2" fmla="*/ 15337 h 2751022"/>
              <a:gd name="connsiteX3" fmla="*/ 2981299 w 5955644"/>
              <a:gd name="connsiteY3" fmla="*/ 2751022 h 2751022"/>
              <a:gd name="connsiteX4" fmla="*/ 0 w 5955644"/>
              <a:gd name="connsiteY4" fmla="*/ 2174641 h 2751022"/>
              <a:gd name="connsiteX0" fmla="*/ 0 w 5955644"/>
              <a:gd name="connsiteY0" fmla="*/ 5384892 h 5961273"/>
              <a:gd name="connsiteX1" fmla="*/ 2518802 w 5955644"/>
              <a:gd name="connsiteY1" fmla="*/ 0 h 5961273"/>
              <a:gd name="connsiteX2" fmla="*/ 5955644 w 5955644"/>
              <a:gd name="connsiteY2" fmla="*/ 3225588 h 5961273"/>
              <a:gd name="connsiteX3" fmla="*/ 2981299 w 5955644"/>
              <a:gd name="connsiteY3" fmla="*/ 5961273 h 5961273"/>
              <a:gd name="connsiteX4" fmla="*/ 0 w 5955644"/>
              <a:gd name="connsiteY4" fmla="*/ 5384892 h 5961273"/>
              <a:gd name="connsiteX0" fmla="*/ 0 w 5955644"/>
              <a:gd name="connsiteY0" fmla="*/ 5384892 h 5961273"/>
              <a:gd name="connsiteX1" fmla="*/ 2518802 w 5955644"/>
              <a:gd name="connsiteY1" fmla="*/ 0 h 5961273"/>
              <a:gd name="connsiteX2" fmla="*/ 5955644 w 5955644"/>
              <a:gd name="connsiteY2" fmla="*/ 3225588 h 5961273"/>
              <a:gd name="connsiteX3" fmla="*/ 2981299 w 5955644"/>
              <a:gd name="connsiteY3" fmla="*/ 5961273 h 5961273"/>
              <a:gd name="connsiteX4" fmla="*/ 0 w 5955644"/>
              <a:gd name="connsiteY4" fmla="*/ 5384892 h 5961273"/>
              <a:gd name="connsiteX0" fmla="*/ 0 w 4302860"/>
              <a:gd name="connsiteY0" fmla="*/ 5384892 h 5961273"/>
              <a:gd name="connsiteX1" fmla="*/ 2518802 w 4302860"/>
              <a:gd name="connsiteY1" fmla="*/ 0 h 5961273"/>
              <a:gd name="connsiteX2" fmla="*/ 4302860 w 4302860"/>
              <a:gd name="connsiteY2" fmla="*/ 15337 h 5961273"/>
              <a:gd name="connsiteX3" fmla="*/ 2981299 w 4302860"/>
              <a:gd name="connsiteY3" fmla="*/ 5961273 h 5961273"/>
              <a:gd name="connsiteX4" fmla="*/ 0 w 4302860"/>
              <a:gd name="connsiteY4" fmla="*/ 5384892 h 5961273"/>
              <a:gd name="connsiteX0" fmla="*/ 0 w 4303248"/>
              <a:gd name="connsiteY0" fmla="*/ 5384892 h 5961273"/>
              <a:gd name="connsiteX1" fmla="*/ 2518802 w 4303248"/>
              <a:gd name="connsiteY1" fmla="*/ 0 h 5961273"/>
              <a:gd name="connsiteX2" fmla="*/ 4302860 w 4303248"/>
              <a:gd name="connsiteY2" fmla="*/ 15337 h 5961273"/>
              <a:gd name="connsiteX3" fmla="*/ 2981299 w 4303248"/>
              <a:gd name="connsiteY3" fmla="*/ 5961273 h 5961273"/>
              <a:gd name="connsiteX4" fmla="*/ 0 w 4303248"/>
              <a:gd name="connsiteY4" fmla="*/ 5384892 h 5961273"/>
              <a:gd name="connsiteX0" fmla="*/ 0 w 4507009"/>
              <a:gd name="connsiteY0" fmla="*/ 5384892 h 6919386"/>
              <a:gd name="connsiteX1" fmla="*/ 2518802 w 4507009"/>
              <a:gd name="connsiteY1" fmla="*/ 0 h 6919386"/>
              <a:gd name="connsiteX2" fmla="*/ 4302860 w 4507009"/>
              <a:gd name="connsiteY2" fmla="*/ 15337 h 6919386"/>
              <a:gd name="connsiteX3" fmla="*/ 4279958 w 4507009"/>
              <a:gd name="connsiteY3" fmla="*/ 6919386 h 6919386"/>
              <a:gd name="connsiteX4" fmla="*/ 0 w 4507009"/>
              <a:gd name="connsiteY4" fmla="*/ 5384892 h 6919386"/>
              <a:gd name="connsiteX0" fmla="*/ 0 w 4308219"/>
              <a:gd name="connsiteY0" fmla="*/ 5384892 h 6919386"/>
              <a:gd name="connsiteX1" fmla="*/ 2518802 w 4308219"/>
              <a:gd name="connsiteY1" fmla="*/ 0 h 6919386"/>
              <a:gd name="connsiteX2" fmla="*/ 4302860 w 4308219"/>
              <a:gd name="connsiteY2" fmla="*/ 15337 h 6919386"/>
              <a:gd name="connsiteX3" fmla="*/ 4279958 w 4308219"/>
              <a:gd name="connsiteY3" fmla="*/ 6919386 h 6919386"/>
              <a:gd name="connsiteX4" fmla="*/ 0 w 4308219"/>
              <a:gd name="connsiteY4" fmla="*/ 5384892 h 6919386"/>
              <a:gd name="connsiteX0" fmla="*/ 0 w 4320025"/>
              <a:gd name="connsiteY0" fmla="*/ 5384892 h 6903532"/>
              <a:gd name="connsiteX1" fmla="*/ 2518802 w 4320025"/>
              <a:gd name="connsiteY1" fmla="*/ 0 h 6903532"/>
              <a:gd name="connsiteX2" fmla="*/ 4302860 w 4320025"/>
              <a:gd name="connsiteY2" fmla="*/ 15337 h 6903532"/>
              <a:gd name="connsiteX3" fmla="*/ 4320025 w 4320025"/>
              <a:gd name="connsiteY3" fmla="*/ 6903532 h 6903532"/>
              <a:gd name="connsiteX4" fmla="*/ 0 w 4320025"/>
              <a:gd name="connsiteY4" fmla="*/ 5384892 h 6903532"/>
              <a:gd name="connsiteX0" fmla="*/ 0 w 4320025"/>
              <a:gd name="connsiteY0" fmla="*/ 5384892 h 6903532"/>
              <a:gd name="connsiteX1" fmla="*/ 2518802 w 4320025"/>
              <a:gd name="connsiteY1" fmla="*/ 0 h 6903532"/>
              <a:gd name="connsiteX2" fmla="*/ 4302860 w 4320025"/>
              <a:gd name="connsiteY2" fmla="*/ 15337 h 6903532"/>
              <a:gd name="connsiteX3" fmla="*/ 4320025 w 4320025"/>
              <a:gd name="connsiteY3" fmla="*/ 6903532 h 6903532"/>
              <a:gd name="connsiteX4" fmla="*/ 1699082 w 4320025"/>
              <a:gd name="connsiteY4" fmla="*/ 5988410 h 6903532"/>
              <a:gd name="connsiteX5" fmla="*/ 0 w 4320025"/>
              <a:gd name="connsiteY5" fmla="*/ 5384892 h 6903532"/>
              <a:gd name="connsiteX0" fmla="*/ 0 w 4320025"/>
              <a:gd name="connsiteY0" fmla="*/ 5384892 h 6903532"/>
              <a:gd name="connsiteX1" fmla="*/ 2518802 w 4320025"/>
              <a:gd name="connsiteY1" fmla="*/ 0 h 6903532"/>
              <a:gd name="connsiteX2" fmla="*/ 4302860 w 4320025"/>
              <a:gd name="connsiteY2" fmla="*/ 15337 h 6903532"/>
              <a:gd name="connsiteX3" fmla="*/ 4320025 w 4320025"/>
              <a:gd name="connsiteY3" fmla="*/ 6903532 h 6903532"/>
              <a:gd name="connsiteX4" fmla="*/ 3251698 w 4320025"/>
              <a:gd name="connsiteY4" fmla="*/ 6899963 h 6903532"/>
              <a:gd name="connsiteX5" fmla="*/ 0 w 4320025"/>
              <a:gd name="connsiteY5" fmla="*/ 5384892 h 6903532"/>
              <a:gd name="connsiteX0" fmla="*/ 0 w 4320025"/>
              <a:gd name="connsiteY0" fmla="*/ 5384892 h 6903532"/>
              <a:gd name="connsiteX1" fmla="*/ 2518802 w 4320025"/>
              <a:gd name="connsiteY1" fmla="*/ 0 h 6903532"/>
              <a:gd name="connsiteX2" fmla="*/ 4302860 w 4320025"/>
              <a:gd name="connsiteY2" fmla="*/ 15337 h 6903532"/>
              <a:gd name="connsiteX3" fmla="*/ 4320025 w 4320025"/>
              <a:gd name="connsiteY3" fmla="*/ 6903532 h 6903532"/>
              <a:gd name="connsiteX4" fmla="*/ 3251698 w 4320025"/>
              <a:gd name="connsiteY4" fmla="*/ 6899963 h 6903532"/>
              <a:gd name="connsiteX5" fmla="*/ 0 w 4320025"/>
              <a:gd name="connsiteY5" fmla="*/ 5384892 h 6903532"/>
              <a:gd name="connsiteX0" fmla="*/ 0 w 4321856"/>
              <a:gd name="connsiteY0" fmla="*/ 5369570 h 6888210"/>
              <a:gd name="connsiteX1" fmla="*/ 4321838 w 4321856"/>
              <a:gd name="connsiteY1" fmla="*/ 1324265 h 6888210"/>
              <a:gd name="connsiteX2" fmla="*/ 4302860 w 4321856"/>
              <a:gd name="connsiteY2" fmla="*/ 15 h 6888210"/>
              <a:gd name="connsiteX3" fmla="*/ 4320025 w 4321856"/>
              <a:gd name="connsiteY3" fmla="*/ 6888210 h 6888210"/>
              <a:gd name="connsiteX4" fmla="*/ 3251698 w 4321856"/>
              <a:gd name="connsiteY4" fmla="*/ 6884641 h 6888210"/>
              <a:gd name="connsiteX5" fmla="*/ 0 w 4321856"/>
              <a:gd name="connsiteY5" fmla="*/ 5369570 h 6888210"/>
              <a:gd name="connsiteX0" fmla="*/ 0 w 4684702"/>
              <a:gd name="connsiteY0" fmla="*/ 4045305 h 5563945"/>
              <a:gd name="connsiteX1" fmla="*/ 4321838 w 4684702"/>
              <a:gd name="connsiteY1" fmla="*/ 0 h 5563945"/>
              <a:gd name="connsiteX2" fmla="*/ 4320025 w 4684702"/>
              <a:gd name="connsiteY2" fmla="*/ 5563945 h 5563945"/>
              <a:gd name="connsiteX3" fmla="*/ 3251698 w 4684702"/>
              <a:gd name="connsiteY3" fmla="*/ 5560376 h 5563945"/>
              <a:gd name="connsiteX4" fmla="*/ 0 w 4684702"/>
              <a:gd name="connsiteY4" fmla="*/ 4045305 h 5563945"/>
              <a:gd name="connsiteX0" fmla="*/ 0 w 4401781"/>
              <a:gd name="connsiteY0" fmla="*/ 4045305 h 5563945"/>
              <a:gd name="connsiteX1" fmla="*/ 4321838 w 4401781"/>
              <a:gd name="connsiteY1" fmla="*/ 0 h 5563945"/>
              <a:gd name="connsiteX2" fmla="*/ 4320025 w 4401781"/>
              <a:gd name="connsiteY2" fmla="*/ 5563945 h 5563945"/>
              <a:gd name="connsiteX3" fmla="*/ 3251698 w 4401781"/>
              <a:gd name="connsiteY3" fmla="*/ 5560376 h 5563945"/>
              <a:gd name="connsiteX4" fmla="*/ 0 w 4401781"/>
              <a:gd name="connsiteY4" fmla="*/ 4045305 h 5563945"/>
              <a:gd name="connsiteX0" fmla="*/ 0 w 4323931"/>
              <a:gd name="connsiteY0" fmla="*/ 4045305 h 5563945"/>
              <a:gd name="connsiteX1" fmla="*/ 4321838 w 4323931"/>
              <a:gd name="connsiteY1" fmla="*/ 0 h 5563945"/>
              <a:gd name="connsiteX2" fmla="*/ 4320025 w 4323931"/>
              <a:gd name="connsiteY2" fmla="*/ 5563945 h 5563945"/>
              <a:gd name="connsiteX3" fmla="*/ 3251698 w 4323931"/>
              <a:gd name="connsiteY3" fmla="*/ 5560376 h 5563945"/>
              <a:gd name="connsiteX4" fmla="*/ 0 w 4323931"/>
              <a:gd name="connsiteY4" fmla="*/ 4045305 h 5563945"/>
              <a:gd name="connsiteX0" fmla="*/ 0 w 4304402"/>
              <a:gd name="connsiteY0" fmla="*/ 4091665 h 5563945"/>
              <a:gd name="connsiteX1" fmla="*/ 4302309 w 4304402"/>
              <a:gd name="connsiteY1" fmla="*/ 0 h 5563945"/>
              <a:gd name="connsiteX2" fmla="*/ 4300496 w 4304402"/>
              <a:gd name="connsiteY2" fmla="*/ 5563945 h 5563945"/>
              <a:gd name="connsiteX3" fmla="*/ 3232169 w 4304402"/>
              <a:gd name="connsiteY3" fmla="*/ 5560376 h 5563945"/>
              <a:gd name="connsiteX4" fmla="*/ 0 w 4304402"/>
              <a:gd name="connsiteY4" fmla="*/ 4091665 h 5563945"/>
              <a:gd name="connsiteX0" fmla="*/ 0 w 4304402"/>
              <a:gd name="connsiteY0" fmla="*/ 4091665 h 5563945"/>
              <a:gd name="connsiteX1" fmla="*/ 4302309 w 4304402"/>
              <a:gd name="connsiteY1" fmla="*/ 0 h 5563945"/>
              <a:gd name="connsiteX2" fmla="*/ 4300496 w 4304402"/>
              <a:gd name="connsiteY2" fmla="*/ 5563945 h 5563945"/>
              <a:gd name="connsiteX3" fmla="*/ 3232169 w 4304402"/>
              <a:gd name="connsiteY3" fmla="*/ 5560376 h 5563945"/>
              <a:gd name="connsiteX4" fmla="*/ 0 w 4304402"/>
              <a:gd name="connsiteY4" fmla="*/ 4091665 h 5563945"/>
              <a:gd name="connsiteX0" fmla="*/ 0 w 4304402"/>
              <a:gd name="connsiteY0" fmla="*/ 4091665 h 5563945"/>
              <a:gd name="connsiteX1" fmla="*/ 4302309 w 4304402"/>
              <a:gd name="connsiteY1" fmla="*/ 0 h 5563945"/>
              <a:gd name="connsiteX2" fmla="*/ 4300496 w 4304402"/>
              <a:gd name="connsiteY2" fmla="*/ 5563945 h 5563945"/>
              <a:gd name="connsiteX3" fmla="*/ 3232169 w 4304402"/>
              <a:gd name="connsiteY3" fmla="*/ 5560376 h 5563945"/>
              <a:gd name="connsiteX4" fmla="*/ 0 w 4304402"/>
              <a:gd name="connsiteY4" fmla="*/ 4091665 h 5563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4402" h="5563945">
                <a:moveTo>
                  <a:pt x="0" y="4091665"/>
                </a:moveTo>
                <a:cubicBezTo>
                  <a:pt x="1440613" y="2743230"/>
                  <a:pt x="2861696" y="1348435"/>
                  <a:pt x="4302309" y="0"/>
                </a:cubicBezTo>
                <a:cubicBezTo>
                  <a:pt x="4311115" y="498830"/>
                  <a:pt x="4288532" y="5540843"/>
                  <a:pt x="4300496" y="5563945"/>
                </a:cubicBezTo>
                <a:lnTo>
                  <a:pt x="3232169" y="5560376"/>
                </a:lnTo>
                <a:cubicBezTo>
                  <a:pt x="2207866" y="5046028"/>
                  <a:pt x="1083899" y="4573510"/>
                  <a:pt x="0" y="409166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en-US" b="0" dirty="0">
                <a:solidFill>
                  <a:schemeClr val="bg2"/>
                </a:solidFill>
                <a:ea typeface="Arial Regular" charset="0"/>
                <a:cs typeface="Arial Regular" charset="0"/>
              </a:defRPr>
            </a:lvl1pPr>
          </a:lstStyle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endParaRPr lang="en-US"/>
          </a:p>
          <a:p>
            <a:pPr marR="0" lvl="0" algn="ctr" fontAlgn="auto">
              <a:spcBef>
                <a:spcPts val="600"/>
              </a:spcBef>
              <a:buClrTx/>
              <a:buSzTx/>
              <a:tabLst/>
            </a:pPr>
            <a:r>
              <a:rPr lang="en-US"/>
              <a:t>To insert picture, drag to placeholder</a:t>
            </a:r>
            <a:br>
              <a:rPr lang="en-US"/>
            </a:br>
            <a:r>
              <a:rPr lang="en-US"/>
              <a:t>or click icon to add.</a:t>
            </a:r>
          </a:p>
        </p:txBody>
      </p:sp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-1" y="4387586"/>
            <a:ext cx="11105945" cy="2470417"/>
            <a:chOff x="2118" y="1935"/>
            <a:chExt cx="1524" cy="452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118" y="1935"/>
              <a:ext cx="1524" cy="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2118" y="2173"/>
              <a:ext cx="546" cy="214"/>
            </a:xfrm>
            <a:custGeom>
              <a:avLst/>
              <a:gdLst>
                <a:gd name="T0" fmla="*/ 546 w 546"/>
                <a:gd name="T1" fmla="*/ 0 h 214"/>
                <a:gd name="T2" fmla="*/ 0 w 546"/>
                <a:gd name="T3" fmla="*/ 73 h 214"/>
                <a:gd name="T4" fmla="*/ 0 w 546"/>
                <a:gd name="T5" fmla="*/ 214 h 214"/>
                <a:gd name="T6" fmla="*/ 371 w 546"/>
                <a:gd name="T7" fmla="*/ 214 h 214"/>
                <a:gd name="T8" fmla="*/ 546 w 546"/>
                <a:gd name="T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6" h="214">
                  <a:moveTo>
                    <a:pt x="546" y="0"/>
                  </a:moveTo>
                  <a:lnTo>
                    <a:pt x="0" y="73"/>
                  </a:lnTo>
                  <a:lnTo>
                    <a:pt x="0" y="214"/>
                  </a:lnTo>
                  <a:lnTo>
                    <a:pt x="371" y="214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619C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2118" y="1937"/>
              <a:ext cx="546" cy="309"/>
            </a:xfrm>
            <a:custGeom>
              <a:avLst/>
              <a:gdLst>
                <a:gd name="T0" fmla="*/ 546 w 546"/>
                <a:gd name="T1" fmla="*/ 236 h 309"/>
                <a:gd name="T2" fmla="*/ 0 w 546"/>
                <a:gd name="T3" fmla="*/ 309 h 309"/>
                <a:gd name="T4" fmla="*/ 0 w 546"/>
                <a:gd name="T5" fmla="*/ 0 h 309"/>
                <a:gd name="T6" fmla="*/ 546 w 546"/>
                <a:gd name="T7" fmla="*/ 23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6" h="309">
                  <a:moveTo>
                    <a:pt x="546" y="236"/>
                  </a:moveTo>
                  <a:lnTo>
                    <a:pt x="0" y="309"/>
                  </a:lnTo>
                  <a:lnTo>
                    <a:pt x="0" y="0"/>
                  </a:lnTo>
                  <a:lnTo>
                    <a:pt x="546" y="23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2489" y="2173"/>
              <a:ext cx="508" cy="214"/>
            </a:xfrm>
            <a:custGeom>
              <a:avLst/>
              <a:gdLst>
                <a:gd name="T0" fmla="*/ 175 w 508"/>
                <a:gd name="T1" fmla="*/ 0 h 214"/>
                <a:gd name="T2" fmla="*/ 508 w 508"/>
                <a:gd name="T3" fmla="*/ 214 h 214"/>
                <a:gd name="T4" fmla="*/ 0 w 508"/>
                <a:gd name="T5" fmla="*/ 214 h 214"/>
                <a:gd name="T6" fmla="*/ 175 w 508"/>
                <a:gd name="T7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8" h="214">
                  <a:moveTo>
                    <a:pt x="175" y="0"/>
                  </a:moveTo>
                  <a:lnTo>
                    <a:pt x="508" y="214"/>
                  </a:lnTo>
                  <a:lnTo>
                    <a:pt x="0" y="214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2664" y="2115"/>
              <a:ext cx="787" cy="272"/>
            </a:xfrm>
            <a:custGeom>
              <a:avLst/>
              <a:gdLst>
                <a:gd name="T0" fmla="*/ 0 w 787"/>
                <a:gd name="T1" fmla="*/ 58 h 272"/>
                <a:gd name="T2" fmla="*/ 333 w 787"/>
                <a:gd name="T3" fmla="*/ 272 h 272"/>
                <a:gd name="T4" fmla="*/ 394 w 787"/>
                <a:gd name="T5" fmla="*/ 272 h 272"/>
                <a:gd name="T6" fmla="*/ 787 w 787"/>
                <a:gd name="T7" fmla="*/ 144 h 272"/>
                <a:gd name="T8" fmla="*/ 505 w 787"/>
                <a:gd name="T9" fmla="*/ 0 h 272"/>
                <a:gd name="T10" fmla="*/ 0 w 787"/>
                <a:gd name="T11" fmla="*/ 58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87" h="272">
                  <a:moveTo>
                    <a:pt x="0" y="58"/>
                  </a:moveTo>
                  <a:lnTo>
                    <a:pt x="333" y="272"/>
                  </a:lnTo>
                  <a:lnTo>
                    <a:pt x="394" y="272"/>
                  </a:lnTo>
                  <a:lnTo>
                    <a:pt x="787" y="144"/>
                  </a:lnTo>
                  <a:lnTo>
                    <a:pt x="505" y="0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BAE3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auto">
            <a:xfrm>
              <a:off x="3058" y="2259"/>
              <a:ext cx="393" cy="128"/>
            </a:xfrm>
            <a:custGeom>
              <a:avLst/>
              <a:gdLst>
                <a:gd name="T0" fmla="*/ 277 w 393"/>
                <a:gd name="T1" fmla="*/ 128 h 128"/>
                <a:gd name="T2" fmla="*/ 0 w 393"/>
                <a:gd name="T3" fmla="*/ 128 h 128"/>
                <a:gd name="T4" fmla="*/ 393 w 393"/>
                <a:gd name="T5" fmla="*/ 0 h 128"/>
                <a:gd name="T6" fmla="*/ 277 w 393"/>
                <a:gd name="T7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3" h="128">
                  <a:moveTo>
                    <a:pt x="277" y="128"/>
                  </a:moveTo>
                  <a:lnTo>
                    <a:pt x="0" y="128"/>
                  </a:lnTo>
                  <a:lnTo>
                    <a:pt x="393" y="0"/>
                  </a:lnTo>
                  <a:lnTo>
                    <a:pt x="277" y="128"/>
                  </a:lnTo>
                  <a:close/>
                </a:path>
              </a:pathLst>
            </a:custGeom>
            <a:solidFill>
              <a:srgbClr val="8AC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335" y="2259"/>
              <a:ext cx="153" cy="128"/>
            </a:xfrm>
            <a:custGeom>
              <a:avLst/>
              <a:gdLst>
                <a:gd name="T0" fmla="*/ 0 w 153"/>
                <a:gd name="T1" fmla="*/ 128 h 128"/>
                <a:gd name="T2" fmla="*/ 153 w 153"/>
                <a:gd name="T3" fmla="*/ 128 h 128"/>
                <a:gd name="T4" fmla="*/ 116 w 153"/>
                <a:gd name="T5" fmla="*/ 0 h 128"/>
                <a:gd name="T6" fmla="*/ 0 w 153"/>
                <a:gd name="T7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3" h="128">
                  <a:moveTo>
                    <a:pt x="0" y="128"/>
                  </a:moveTo>
                  <a:lnTo>
                    <a:pt x="153" y="128"/>
                  </a:lnTo>
                  <a:lnTo>
                    <a:pt x="116" y="0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619C0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3451" y="2259"/>
              <a:ext cx="189" cy="128"/>
            </a:xfrm>
            <a:custGeom>
              <a:avLst/>
              <a:gdLst>
                <a:gd name="T0" fmla="*/ 189 w 189"/>
                <a:gd name="T1" fmla="*/ 128 h 128"/>
                <a:gd name="T2" fmla="*/ 37 w 189"/>
                <a:gd name="T3" fmla="*/ 128 h 128"/>
                <a:gd name="T4" fmla="*/ 0 w 189"/>
                <a:gd name="T5" fmla="*/ 0 h 128"/>
                <a:gd name="T6" fmla="*/ 189 w 189"/>
                <a:gd name="T7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9" h="128">
                  <a:moveTo>
                    <a:pt x="189" y="128"/>
                  </a:moveTo>
                  <a:lnTo>
                    <a:pt x="37" y="128"/>
                  </a:lnTo>
                  <a:lnTo>
                    <a:pt x="0" y="0"/>
                  </a:lnTo>
                  <a:lnTo>
                    <a:pt x="189" y="128"/>
                  </a:lnTo>
                  <a:close/>
                </a:path>
              </a:pathLst>
            </a:custGeom>
            <a:solidFill>
              <a:srgbClr val="BAE3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52961" y="1724719"/>
            <a:ext cx="5930081" cy="2059007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5" name="Picture 24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9128632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Slide with Side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982065" y="1943100"/>
            <a:ext cx="7600338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8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8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8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82065" y="1032386"/>
            <a:ext cx="7600339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solidFill>
                  <a:schemeClr val="tx1"/>
                </a:solidFill>
                <a:latin typeface="+mj-lt"/>
                <a:ea typeface="Arial Regular" charset="0"/>
                <a:cs typeface="Arial Regular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3"/>
          <p:cNvSpPr txBox="1">
            <a:spLocks/>
          </p:cNvSpPr>
          <p:nvPr userDrawn="1"/>
        </p:nvSpPr>
        <p:spPr>
          <a:xfrm>
            <a:off x="40235" y="1638303"/>
            <a:ext cx="3696024" cy="2163679"/>
          </a:xfrm>
          <a:custGeom>
            <a:avLst/>
            <a:gdLst>
              <a:gd name="connsiteX0" fmla="*/ 3 w 2571750"/>
              <a:gd name="connsiteY0" fmla="*/ 982319 h 2571750"/>
              <a:gd name="connsiteX1" fmla="*/ 1285875 w 2571750"/>
              <a:gd name="connsiteY1" fmla="*/ 0 h 2571750"/>
              <a:gd name="connsiteX2" fmla="*/ 2571747 w 2571750"/>
              <a:gd name="connsiteY2" fmla="*/ 982319 h 2571750"/>
              <a:gd name="connsiteX3" fmla="*/ 2080588 w 2571750"/>
              <a:gd name="connsiteY3" fmla="*/ 2571743 h 2571750"/>
              <a:gd name="connsiteX4" fmla="*/ 491162 w 2571750"/>
              <a:gd name="connsiteY4" fmla="*/ 2571743 h 2571750"/>
              <a:gd name="connsiteX5" fmla="*/ 3 w 2571750"/>
              <a:gd name="connsiteY5" fmla="*/ 982319 h 2571750"/>
              <a:gd name="connsiteX0" fmla="*/ 0 w 2571744"/>
              <a:gd name="connsiteY0" fmla="*/ 1791944 h 3381368"/>
              <a:gd name="connsiteX1" fmla="*/ 1800222 w 2571744"/>
              <a:gd name="connsiteY1" fmla="*/ 0 h 3381368"/>
              <a:gd name="connsiteX2" fmla="*/ 2571744 w 2571744"/>
              <a:gd name="connsiteY2" fmla="*/ 1791944 h 3381368"/>
              <a:gd name="connsiteX3" fmla="*/ 2080585 w 2571744"/>
              <a:gd name="connsiteY3" fmla="*/ 3381368 h 3381368"/>
              <a:gd name="connsiteX4" fmla="*/ 491159 w 2571744"/>
              <a:gd name="connsiteY4" fmla="*/ 3381368 h 3381368"/>
              <a:gd name="connsiteX5" fmla="*/ 0 w 2571744"/>
              <a:gd name="connsiteY5" fmla="*/ 1791944 h 3381368"/>
              <a:gd name="connsiteX0" fmla="*/ 0 w 5010144"/>
              <a:gd name="connsiteY0" fmla="*/ 2458694 h 3381368"/>
              <a:gd name="connsiteX1" fmla="*/ 4238622 w 5010144"/>
              <a:gd name="connsiteY1" fmla="*/ 0 h 3381368"/>
              <a:gd name="connsiteX2" fmla="*/ 5010144 w 5010144"/>
              <a:gd name="connsiteY2" fmla="*/ 1791944 h 3381368"/>
              <a:gd name="connsiteX3" fmla="*/ 4518985 w 5010144"/>
              <a:gd name="connsiteY3" fmla="*/ 3381368 h 3381368"/>
              <a:gd name="connsiteX4" fmla="*/ 2929559 w 5010144"/>
              <a:gd name="connsiteY4" fmla="*/ 3381368 h 3381368"/>
              <a:gd name="connsiteX5" fmla="*/ 0 w 5010144"/>
              <a:gd name="connsiteY5" fmla="*/ 2458694 h 3381368"/>
              <a:gd name="connsiteX0" fmla="*/ 0 w 5010144"/>
              <a:gd name="connsiteY0" fmla="*/ 2458694 h 6905618"/>
              <a:gd name="connsiteX1" fmla="*/ 4238622 w 5010144"/>
              <a:gd name="connsiteY1" fmla="*/ 0 h 6905618"/>
              <a:gd name="connsiteX2" fmla="*/ 5010144 w 5010144"/>
              <a:gd name="connsiteY2" fmla="*/ 1791944 h 6905618"/>
              <a:gd name="connsiteX3" fmla="*/ 4518985 w 5010144"/>
              <a:gd name="connsiteY3" fmla="*/ 3381368 h 6905618"/>
              <a:gd name="connsiteX4" fmla="*/ 2872409 w 5010144"/>
              <a:gd name="connsiteY4" fmla="*/ 6905618 h 6905618"/>
              <a:gd name="connsiteX5" fmla="*/ 0 w 5010144"/>
              <a:gd name="connsiteY5" fmla="*/ 2458694 h 6905618"/>
              <a:gd name="connsiteX0" fmla="*/ 0 w 5319085"/>
              <a:gd name="connsiteY0" fmla="*/ 2458694 h 6905618"/>
              <a:gd name="connsiteX1" fmla="*/ 4238622 w 5319085"/>
              <a:gd name="connsiteY1" fmla="*/ 0 h 6905618"/>
              <a:gd name="connsiteX2" fmla="*/ 5010144 w 5319085"/>
              <a:gd name="connsiteY2" fmla="*/ 1791944 h 6905618"/>
              <a:gd name="connsiteX3" fmla="*/ 5319085 w 5319085"/>
              <a:gd name="connsiteY3" fmla="*/ 6867518 h 6905618"/>
              <a:gd name="connsiteX4" fmla="*/ 2872409 w 5319085"/>
              <a:gd name="connsiteY4" fmla="*/ 6905618 h 6905618"/>
              <a:gd name="connsiteX5" fmla="*/ 0 w 5319085"/>
              <a:gd name="connsiteY5" fmla="*/ 2458694 h 6905618"/>
              <a:gd name="connsiteX0" fmla="*/ 0 w 5319085"/>
              <a:gd name="connsiteY0" fmla="*/ 2458694 h 6896093"/>
              <a:gd name="connsiteX1" fmla="*/ 4238622 w 5319085"/>
              <a:gd name="connsiteY1" fmla="*/ 0 h 6896093"/>
              <a:gd name="connsiteX2" fmla="*/ 5010144 w 5319085"/>
              <a:gd name="connsiteY2" fmla="*/ 1791944 h 6896093"/>
              <a:gd name="connsiteX3" fmla="*/ 5319085 w 5319085"/>
              <a:gd name="connsiteY3" fmla="*/ 6867518 h 6896093"/>
              <a:gd name="connsiteX4" fmla="*/ 2862884 w 5319085"/>
              <a:gd name="connsiteY4" fmla="*/ 6896093 h 6896093"/>
              <a:gd name="connsiteX5" fmla="*/ 0 w 5319085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5319085 w 8543919"/>
              <a:gd name="connsiteY3" fmla="*/ 6867518 h 6896093"/>
              <a:gd name="connsiteX4" fmla="*/ 2862884 w 8543919"/>
              <a:gd name="connsiteY4" fmla="*/ 6896093 h 6896093"/>
              <a:gd name="connsiteX5" fmla="*/ 0 w 8543919"/>
              <a:gd name="connsiteY5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105772 w 8543919"/>
              <a:gd name="connsiteY3" fmla="*/ 30575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515844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43919"/>
              <a:gd name="connsiteY0" fmla="*/ 2458694 h 6896093"/>
              <a:gd name="connsiteX1" fmla="*/ 4238622 w 8543919"/>
              <a:gd name="connsiteY1" fmla="*/ 0 h 6896093"/>
              <a:gd name="connsiteX2" fmla="*/ 8543919 w 8543919"/>
              <a:gd name="connsiteY2" fmla="*/ 2327425 h 6896093"/>
              <a:gd name="connsiteX3" fmla="*/ 8515347 w 8543919"/>
              <a:gd name="connsiteY3" fmla="*/ 5534027 h 6896093"/>
              <a:gd name="connsiteX4" fmla="*/ 5319085 w 8543919"/>
              <a:gd name="connsiteY4" fmla="*/ 6867518 h 6896093"/>
              <a:gd name="connsiteX5" fmla="*/ 2862884 w 8543919"/>
              <a:gd name="connsiteY5" fmla="*/ 6896093 h 6896093"/>
              <a:gd name="connsiteX6" fmla="*/ 0 w 8543919"/>
              <a:gd name="connsiteY6" fmla="*/ 2458694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02910 w 8527744"/>
              <a:gd name="connsiteY4" fmla="*/ 686751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499172 w 8527744"/>
              <a:gd name="connsiteY3" fmla="*/ 5534027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896093"/>
              <a:gd name="connsiteX1" fmla="*/ 4222447 w 8527744"/>
              <a:gd name="connsiteY1" fmla="*/ 0 h 6896093"/>
              <a:gd name="connsiteX2" fmla="*/ 8527744 w 8527744"/>
              <a:gd name="connsiteY2" fmla="*/ 2327425 h 6896093"/>
              <a:gd name="connsiteX3" fmla="*/ 8523432 w 8527744"/>
              <a:gd name="connsiteY3" fmla="*/ 5782739 h 6896093"/>
              <a:gd name="connsiteX4" fmla="*/ 5359519 w 8527744"/>
              <a:gd name="connsiteY4" fmla="*/ 6890128 h 6896093"/>
              <a:gd name="connsiteX5" fmla="*/ 2846709 w 8527744"/>
              <a:gd name="connsiteY5" fmla="*/ 6896093 h 6896093"/>
              <a:gd name="connsiteX6" fmla="*/ 0 w 8527744"/>
              <a:gd name="connsiteY6" fmla="*/ 2353181 h 6896093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846709 w 8527744"/>
              <a:gd name="connsiteY5" fmla="*/ 689609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2935665 w 8527744"/>
              <a:gd name="connsiteY5" fmla="*/ 6873483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307659 w 8527744"/>
              <a:gd name="connsiteY5" fmla="*/ 6843336 h 6912738"/>
              <a:gd name="connsiteX6" fmla="*/ 0 w 8527744"/>
              <a:gd name="connsiteY6" fmla="*/ 2353181 h 6912738"/>
              <a:gd name="connsiteX0" fmla="*/ 0 w 8527744"/>
              <a:gd name="connsiteY0" fmla="*/ 2353181 h 6912738"/>
              <a:gd name="connsiteX1" fmla="*/ 4222447 w 8527744"/>
              <a:gd name="connsiteY1" fmla="*/ 0 h 6912738"/>
              <a:gd name="connsiteX2" fmla="*/ 8527744 w 8527744"/>
              <a:gd name="connsiteY2" fmla="*/ 2327425 h 6912738"/>
              <a:gd name="connsiteX3" fmla="*/ 8523432 w 8527744"/>
              <a:gd name="connsiteY3" fmla="*/ 5782739 h 6912738"/>
              <a:gd name="connsiteX4" fmla="*/ 5310998 w 8527744"/>
              <a:gd name="connsiteY4" fmla="*/ 6912738 h 6912738"/>
              <a:gd name="connsiteX5" fmla="*/ 3170183 w 8527744"/>
              <a:gd name="connsiteY5" fmla="*/ 6911167 h 6912738"/>
              <a:gd name="connsiteX6" fmla="*/ 0 w 8527744"/>
              <a:gd name="connsiteY6" fmla="*/ 2353181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326491 w 9543237"/>
              <a:gd name="connsiteY4" fmla="*/ 6912738 h 6912738"/>
              <a:gd name="connsiteX5" fmla="*/ 4185676 w 9543237"/>
              <a:gd name="connsiteY5" fmla="*/ 6911167 h 6912738"/>
              <a:gd name="connsiteX6" fmla="*/ 0 w 9543237"/>
              <a:gd name="connsiteY6" fmla="*/ 1124633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326491 w 9543237"/>
              <a:gd name="connsiteY4" fmla="*/ 6912738 h 6912738"/>
              <a:gd name="connsiteX5" fmla="*/ 3150655 w 9543237"/>
              <a:gd name="connsiteY5" fmla="*/ 6293030 h 6912738"/>
              <a:gd name="connsiteX6" fmla="*/ 0 w 9543237"/>
              <a:gd name="connsiteY6" fmla="*/ 1124633 h 6912738"/>
              <a:gd name="connsiteX0" fmla="*/ 0 w 9543237"/>
              <a:gd name="connsiteY0" fmla="*/ 1124633 h 6912738"/>
              <a:gd name="connsiteX1" fmla="*/ 5237940 w 9543237"/>
              <a:gd name="connsiteY1" fmla="*/ 0 h 6912738"/>
              <a:gd name="connsiteX2" fmla="*/ 9543237 w 9543237"/>
              <a:gd name="connsiteY2" fmla="*/ 2327425 h 6912738"/>
              <a:gd name="connsiteX3" fmla="*/ 9538925 w 9543237"/>
              <a:gd name="connsiteY3" fmla="*/ 5782739 h 6912738"/>
              <a:gd name="connsiteX4" fmla="*/ 6297198 w 9543237"/>
              <a:gd name="connsiteY4" fmla="*/ 6912738 h 6912738"/>
              <a:gd name="connsiteX5" fmla="*/ 3150655 w 9543237"/>
              <a:gd name="connsiteY5" fmla="*/ 6293030 h 6912738"/>
              <a:gd name="connsiteX6" fmla="*/ 0 w 9543237"/>
              <a:gd name="connsiteY6" fmla="*/ 1124633 h 6912738"/>
              <a:gd name="connsiteX0" fmla="*/ 0 w 9543237"/>
              <a:gd name="connsiteY0" fmla="*/ 1124633 h 6293030"/>
              <a:gd name="connsiteX1" fmla="*/ 5237940 w 9543237"/>
              <a:gd name="connsiteY1" fmla="*/ 0 h 6293030"/>
              <a:gd name="connsiteX2" fmla="*/ 9543237 w 9543237"/>
              <a:gd name="connsiteY2" fmla="*/ 2327425 h 6293030"/>
              <a:gd name="connsiteX3" fmla="*/ 9538925 w 9543237"/>
              <a:gd name="connsiteY3" fmla="*/ 5782739 h 6293030"/>
              <a:gd name="connsiteX4" fmla="*/ 3150655 w 9543237"/>
              <a:gd name="connsiteY4" fmla="*/ 6293030 h 6293030"/>
              <a:gd name="connsiteX5" fmla="*/ 0 w 9543237"/>
              <a:gd name="connsiteY5" fmla="*/ 1124633 h 6293030"/>
              <a:gd name="connsiteX0" fmla="*/ 0 w 9543237"/>
              <a:gd name="connsiteY0" fmla="*/ 1124633 h 6302268"/>
              <a:gd name="connsiteX1" fmla="*/ 5237940 w 9543237"/>
              <a:gd name="connsiteY1" fmla="*/ 0 h 6302268"/>
              <a:gd name="connsiteX2" fmla="*/ 9543237 w 9543237"/>
              <a:gd name="connsiteY2" fmla="*/ 2327425 h 6302268"/>
              <a:gd name="connsiteX3" fmla="*/ 3150655 w 9543237"/>
              <a:gd name="connsiteY3" fmla="*/ 6293030 h 6302268"/>
              <a:gd name="connsiteX4" fmla="*/ 0 w 9543237"/>
              <a:gd name="connsiteY4" fmla="*/ 1124633 h 6302268"/>
              <a:gd name="connsiteX0" fmla="*/ 0 w 9445594"/>
              <a:gd name="connsiteY0" fmla="*/ 1124633 h 6305662"/>
              <a:gd name="connsiteX1" fmla="*/ 5237940 w 9445594"/>
              <a:gd name="connsiteY1" fmla="*/ 0 h 6305662"/>
              <a:gd name="connsiteX2" fmla="*/ 9445594 w 9445594"/>
              <a:gd name="connsiteY2" fmla="*/ 3208271 h 6305662"/>
              <a:gd name="connsiteX3" fmla="*/ 3150655 w 9445594"/>
              <a:gd name="connsiteY3" fmla="*/ 6293030 h 6305662"/>
              <a:gd name="connsiteX4" fmla="*/ 0 w 9445594"/>
              <a:gd name="connsiteY4" fmla="*/ 1124633 h 6305662"/>
              <a:gd name="connsiteX0" fmla="*/ 0 w 9445594"/>
              <a:gd name="connsiteY0" fmla="*/ 0 h 5181029"/>
              <a:gd name="connsiteX1" fmla="*/ 9445594 w 9445594"/>
              <a:gd name="connsiteY1" fmla="*/ 2083638 h 5181029"/>
              <a:gd name="connsiteX2" fmla="*/ 3150655 w 9445594"/>
              <a:gd name="connsiteY2" fmla="*/ 5168397 h 5181029"/>
              <a:gd name="connsiteX3" fmla="*/ 0 w 9445594"/>
              <a:gd name="connsiteY3" fmla="*/ 0 h 5181029"/>
              <a:gd name="connsiteX0" fmla="*/ 0 w 9445594"/>
              <a:gd name="connsiteY0" fmla="*/ 0 h 5177226"/>
              <a:gd name="connsiteX1" fmla="*/ 9445594 w 9445594"/>
              <a:gd name="connsiteY1" fmla="*/ 2083638 h 5177226"/>
              <a:gd name="connsiteX2" fmla="*/ 3150655 w 9445594"/>
              <a:gd name="connsiteY2" fmla="*/ 5168397 h 5177226"/>
              <a:gd name="connsiteX3" fmla="*/ 0 w 9445594"/>
              <a:gd name="connsiteY3" fmla="*/ 0 h 5177226"/>
              <a:gd name="connsiteX0" fmla="*/ 0 w 9445594"/>
              <a:gd name="connsiteY0" fmla="*/ 0 h 5168397"/>
              <a:gd name="connsiteX1" fmla="*/ 9445594 w 9445594"/>
              <a:gd name="connsiteY1" fmla="*/ 2083638 h 5168397"/>
              <a:gd name="connsiteX2" fmla="*/ 3150655 w 9445594"/>
              <a:gd name="connsiteY2" fmla="*/ 5168397 h 5168397"/>
              <a:gd name="connsiteX3" fmla="*/ 0 w 9445594"/>
              <a:gd name="connsiteY3" fmla="*/ 0 h 5168397"/>
              <a:gd name="connsiteX0" fmla="*/ 0 w 11310584"/>
              <a:gd name="connsiteY0" fmla="*/ 0 h 5168397"/>
              <a:gd name="connsiteX1" fmla="*/ 11310584 w 11310584"/>
              <a:gd name="connsiteY1" fmla="*/ 368307 h 5168397"/>
              <a:gd name="connsiteX2" fmla="*/ 3150655 w 11310584"/>
              <a:gd name="connsiteY2" fmla="*/ 5168397 h 5168397"/>
              <a:gd name="connsiteX3" fmla="*/ 0 w 11310584"/>
              <a:gd name="connsiteY3" fmla="*/ 0 h 5168397"/>
              <a:gd name="connsiteX0" fmla="*/ 0 w 11310584"/>
              <a:gd name="connsiteY0" fmla="*/ 0 h 5531553"/>
              <a:gd name="connsiteX1" fmla="*/ 11310584 w 11310584"/>
              <a:gd name="connsiteY1" fmla="*/ 368307 h 5531553"/>
              <a:gd name="connsiteX2" fmla="*/ 8120708 w 11310584"/>
              <a:gd name="connsiteY2" fmla="*/ 5531553 h 5531553"/>
              <a:gd name="connsiteX3" fmla="*/ 0 w 11310584"/>
              <a:gd name="connsiteY3" fmla="*/ 0 h 5531553"/>
              <a:gd name="connsiteX0" fmla="*/ 0 w 9455359"/>
              <a:gd name="connsiteY0" fmla="*/ 2065608 h 5163246"/>
              <a:gd name="connsiteX1" fmla="*/ 9455359 w 9455359"/>
              <a:gd name="connsiteY1" fmla="*/ 0 h 5163246"/>
              <a:gd name="connsiteX2" fmla="*/ 6265483 w 9455359"/>
              <a:gd name="connsiteY2" fmla="*/ 5163246 h 5163246"/>
              <a:gd name="connsiteX3" fmla="*/ 0 w 9455359"/>
              <a:gd name="connsiteY3" fmla="*/ 2065608 h 5163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55359" h="5163246">
                <a:moveTo>
                  <a:pt x="0" y="2065608"/>
                </a:moveTo>
                <a:lnTo>
                  <a:pt x="9455359" y="0"/>
                </a:lnTo>
                <a:cubicBezTo>
                  <a:pt x="9439466" y="5732"/>
                  <a:pt x="6293726" y="5147363"/>
                  <a:pt x="6265483" y="5163246"/>
                </a:cubicBezTo>
                <a:lnTo>
                  <a:pt x="0" y="206560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>
              <a:defRPr b="0" i="0">
                <a:solidFill>
                  <a:schemeClr val="lt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endParaRPr lang="en-US" sz="180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1562" y="1781009"/>
            <a:ext cx="2859394" cy="2105192"/>
          </a:xfrm>
        </p:spPr>
        <p:txBody>
          <a:bodyPr vert="horz" lIns="0" tIns="0" rIns="0" bIns="0" rtlCol="0" anchor="ctr" anchorCtr="0">
            <a:noAutofit/>
          </a:bodyPr>
          <a:lstStyle>
            <a:lvl1pPr algn="l">
              <a:defRPr lang="en-US" sz="3800" dirty="0"/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4582729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 +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 flipH="1">
            <a:off x="7644986" y="0"/>
            <a:ext cx="454701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3" y="1755456"/>
            <a:ext cx="6573519" cy="1326404"/>
          </a:xfrm>
        </p:spPr>
        <p:txBody>
          <a:bodyPr anchor="b"/>
          <a:lstStyle>
            <a:lvl1pPr>
              <a:defRPr sz="40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3" y="3225006"/>
            <a:ext cx="6573519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 baseline="0">
                <a:solidFill>
                  <a:schemeClr val="tx1"/>
                </a:solidFill>
                <a:latin typeface="+mj-lt"/>
                <a:ea typeface="Arial Regular" charset="0"/>
                <a:cs typeface="Arial Regular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884828" y="1943100"/>
            <a:ext cx="3697573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 baseline="0"/>
            </a:lvl1pPr>
            <a:lvl2pPr>
              <a:spcBef>
                <a:spcPts val="800"/>
              </a:spcBef>
              <a:defRPr sz="1400" baseline="0"/>
            </a:lvl2pPr>
            <a:lvl3pPr>
              <a:spcBef>
                <a:spcPts val="800"/>
              </a:spcBef>
              <a:defRPr sz="1400" baseline="0"/>
            </a:lvl3pPr>
            <a:lvl4pPr>
              <a:spcBef>
                <a:spcPts val="800"/>
              </a:spcBef>
              <a:defRPr sz="1400" baseline="0"/>
            </a:lvl4pPr>
            <a:lvl5pPr>
              <a:spcBef>
                <a:spcPts val="800"/>
              </a:spcBef>
              <a:defRPr sz="14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604712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or + 1-Col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/>
          <p:cNvSpPr/>
          <p:nvPr userDrawn="1"/>
        </p:nvSpPr>
        <p:spPr>
          <a:xfrm>
            <a:off x="13828" y="0"/>
            <a:ext cx="5186245" cy="6858000"/>
          </a:xfrm>
          <a:custGeom>
            <a:avLst/>
            <a:gdLst>
              <a:gd name="connsiteX0" fmla="*/ 0 w 1413862"/>
              <a:gd name="connsiteY0" fmla="*/ 0 h 2328262"/>
              <a:gd name="connsiteX1" fmla="*/ 0 w 1413862"/>
              <a:gd name="connsiteY1" fmla="*/ 2328262 h 2328262"/>
              <a:gd name="connsiteX2" fmla="*/ 1413862 w 1413862"/>
              <a:gd name="connsiteY2" fmla="*/ 2328262 h 2328262"/>
              <a:gd name="connsiteX3" fmla="*/ 0 w 1413862"/>
              <a:gd name="connsiteY3" fmla="*/ 0 h 2328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3862" h="2328262">
                <a:moveTo>
                  <a:pt x="0" y="0"/>
                </a:moveTo>
                <a:lnTo>
                  <a:pt x="0" y="2328262"/>
                </a:lnTo>
                <a:lnTo>
                  <a:pt x="1413862" y="23282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3" y="1759699"/>
            <a:ext cx="3555999" cy="2772419"/>
          </a:xfrm>
        </p:spPr>
        <p:txBody>
          <a:bodyPr/>
          <a:lstStyle>
            <a:lvl1pPr>
              <a:defRPr sz="40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97053" y="1032386"/>
            <a:ext cx="7085351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 baseline="0">
                <a:latin typeface="+mj-lt"/>
                <a:ea typeface="Arial Regular" charset="0"/>
                <a:cs typeface="Arial Regular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497051" y="1943100"/>
            <a:ext cx="7085352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268428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lor + 2-Col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 userDrawn="1"/>
        </p:nvSpPr>
        <p:spPr>
          <a:xfrm>
            <a:off x="13828" y="0"/>
            <a:ext cx="5186245" cy="6858000"/>
          </a:xfrm>
          <a:custGeom>
            <a:avLst/>
            <a:gdLst>
              <a:gd name="connsiteX0" fmla="*/ 0 w 1413862"/>
              <a:gd name="connsiteY0" fmla="*/ 0 h 2328262"/>
              <a:gd name="connsiteX1" fmla="*/ 0 w 1413862"/>
              <a:gd name="connsiteY1" fmla="*/ 2328262 h 2328262"/>
              <a:gd name="connsiteX2" fmla="*/ 1413862 w 1413862"/>
              <a:gd name="connsiteY2" fmla="*/ 2328262 h 2328262"/>
              <a:gd name="connsiteX3" fmla="*/ 0 w 1413862"/>
              <a:gd name="connsiteY3" fmla="*/ 0 h 2328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3862" h="2328262">
                <a:moveTo>
                  <a:pt x="0" y="0"/>
                </a:moveTo>
                <a:lnTo>
                  <a:pt x="0" y="2328262"/>
                </a:lnTo>
                <a:lnTo>
                  <a:pt x="1413862" y="23282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3" y="1759699"/>
            <a:ext cx="3555999" cy="2772419"/>
          </a:xfrm>
        </p:spPr>
        <p:txBody>
          <a:bodyPr/>
          <a:lstStyle>
            <a:lvl1pPr>
              <a:defRPr sz="40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4497051" y="1943100"/>
            <a:ext cx="3412756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8169647" y="1943100"/>
            <a:ext cx="3412756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 baseline="0"/>
            </a:lvl1pPr>
            <a:lvl2pPr>
              <a:spcBef>
                <a:spcPts val="800"/>
              </a:spcBef>
              <a:defRPr sz="1400" baseline="0"/>
            </a:lvl2pPr>
            <a:lvl3pPr>
              <a:spcBef>
                <a:spcPts val="800"/>
              </a:spcBef>
              <a:defRPr sz="1400" baseline="0"/>
            </a:lvl3pPr>
            <a:lvl4pPr>
              <a:spcBef>
                <a:spcPts val="800"/>
              </a:spcBef>
              <a:defRPr sz="1400" baseline="0"/>
            </a:lvl4pPr>
            <a:lvl5pPr>
              <a:spcBef>
                <a:spcPts val="800"/>
              </a:spcBef>
              <a:defRPr sz="14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97053" y="1032386"/>
            <a:ext cx="7085351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 baseline="0">
                <a:latin typeface="+mj-lt"/>
                <a:ea typeface="Arial Regular" charset="0"/>
                <a:cs typeface="Arial Regular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736972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3" y="1032386"/>
            <a:ext cx="10972799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1733623133"/>
      </p:ext>
    </p:extLst>
  </p:cSld>
  <p:clrMapOvr>
    <a:masterClrMapping/>
  </p:clrMapOvr>
  <p:transition spd="slow">
    <p:push dir="u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b="0" i="0" kern="1200" spc="0" baseline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678855358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 Layout + 1-Col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4" y="2285114"/>
            <a:ext cx="3020593" cy="3877942"/>
          </a:xfrm>
        </p:spPr>
        <p:txBody>
          <a:bodyPr vert="horz" lIns="0" tIns="0" rIns="0" bIns="0" rtlCol="0">
            <a:noAutofit/>
          </a:bodyPr>
          <a:lstStyle>
            <a:lvl1pPr>
              <a:defRPr lang="en-US" sz="2400" b="0" smtClean="0">
                <a:latin typeface="+mj-lt"/>
                <a:ea typeface="Arial Regular" charset="0"/>
                <a:cs typeface="Arial Regular" charset="0"/>
              </a:defRPr>
            </a:lvl1pPr>
          </a:lstStyle>
          <a:p>
            <a:pPr lvl="0">
              <a:spcBef>
                <a:spcPts val="0"/>
              </a:spcBef>
              <a:buFont typeface="Arial" charset="0"/>
              <a:tabLst/>
            </a:pPr>
            <a:r>
              <a:rPr lang="en-US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3765532" y="749808"/>
            <a:ext cx="7816869" cy="5413248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9602" y="685802"/>
            <a:ext cx="3020593" cy="1382697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800" dirty="0">
                <a:latin typeface="+mj-lt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37E0C9-D46F-C987-BE97-D2DA89C8764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3C23C5-3B2F-5ADB-E7EE-8434D42AD90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602F96-A78F-BD0C-34AA-228BECAEE66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32912"/>
      </p:ext>
    </p:extLst>
  </p:cSld>
  <p:clrMapOvr>
    <a:masterClrMapping/>
  </p:clrMapOvr>
  <p:transition spd="slow">
    <p:push dir="u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Layour w/Call ou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October 24, 201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/>
          </p:nvPr>
        </p:nvSpPr>
        <p:spPr>
          <a:xfrm>
            <a:off x="8807509" y="1943102"/>
            <a:ext cx="2668648" cy="2380325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3" y="1032386"/>
            <a:ext cx="10972799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609600" y="1943100"/>
            <a:ext cx="7983794" cy="43161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/>
          <p:cNvSpPr/>
          <p:nvPr userDrawn="1"/>
        </p:nvSpPr>
        <p:spPr>
          <a:xfrm flipH="1">
            <a:off x="8807511" y="4521926"/>
            <a:ext cx="60959" cy="17373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9067922" y="4521926"/>
            <a:ext cx="2490712" cy="1737360"/>
          </a:xfrm>
        </p:spPr>
        <p:txBody>
          <a:bodyPr anchor="ctr"/>
          <a:lstStyle>
            <a:lvl1pPr>
              <a:lnSpc>
                <a:spcPts val="2600"/>
              </a:lnSpc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3885898295"/>
      </p:ext>
    </p:extLst>
  </p:cSld>
  <p:clrMapOvr>
    <a:masterClrMapping/>
  </p:clrMapOvr>
  <p:transition spd="slow">
    <p:push dir="u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3" y="1032386"/>
            <a:ext cx="10972799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0" y="1943100"/>
            <a:ext cx="5181600" cy="43159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400800" y="1943100"/>
            <a:ext cx="5181600" cy="431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253409160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col Tex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0" y="1943100"/>
            <a:ext cx="5181600" cy="43159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400800" y="1943100"/>
            <a:ext cx="5181600" cy="431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86363519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3" y="1032386"/>
            <a:ext cx="10972799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1943100"/>
            <a:ext cx="5181600" cy="43161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6400800" y="1943100"/>
            <a:ext cx="5181600" cy="43161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249300934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col 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1943100"/>
            <a:ext cx="5181600" cy="43161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6400800" y="1943100"/>
            <a:ext cx="5181600" cy="43161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547651033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3" y="1032386"/>
            <a:ext cx="10972799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943100"/>
            <a:ext cx="3549759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321122" y="1943100"/>
            <a:ext cx="3549759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8032643" y="1943100"/>
            <a:ext cx="3549759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4"/>
          <p:cNvSpPr txBox="1">
            <a:spLocks/>
          </p:cNvSpPr>
          <p:nvPr userDrawn="1"/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b="0" i="0" kern="1200" spc="0" baseline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3749738041"/>
      </p:ext>
    </p:extLst>
  </p:cSld>
  <p:clrMapOvr>
    <a:masterClrMapping/>
  </p:clrMapOvr>
  <p:transition spd="slow">
    <p:push dir="u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col Content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609601" y="1943100"/>
            <a:ext cx="3549759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4"/>
          </p:nvPr>
        </p:nvSpPr>
        <p:spPr>
          <a:xfrm>
            <a:off x="4321122" y="1943100"/>
            <a:ext cx="3549759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8032643" y="1943100"/>
            <a:ext cx="3549759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1683732209"/>
      </p:ext>
    </p:extLst>
  </p:cSld>
  <p:clrMapOvr>
    <a:masterClrMapping/>
  </p:clrMapOvr>
  <p:transition spd="slow">
    <p:push dir="u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Offse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3" y="1032386"/>
            <a:ext cx="10972799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43100"/>
            <a:ext cx="3556001" cy="43161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4318000" y="1943100"/>
            <a:ext cx="7264400" cy="43161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84961315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Offset Columns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43100"/>
            <a:ext cx="3556001" cy="43161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4318000" y="1943100"/>
            <a:ext cx="7264400" cy="431618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139614888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 Content w/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3" y="1032386"/>
            <a:ext cx="10972799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32641" y="1371602"/>
            <a:ext cx="3549760" cy="4887687"/>
          </a:xfrm>
          <a:custGeom>
            <a:avLst/>
            <a:gdLst>
              <a:gd name="connsiteX0" fmla="*/ 0 w 4224652"/>
              <a:gd name="connsiteY0" fmla="*/ 0 h 6896093"/>
              <a:gd name="connsiteX1" fmla="*/ 4224652 w 4224652"/>
              <a:gd name="connsiteY1" fmla="*/ 0 h 6896093"/>
              <a:gd name="connsiteX2" fmla="*/ 4224652 w 4224652"/>
              <a:gd name="connsiteY2" fmla="*/ 6896093 h 6896093"/>
              <a:gd name="connsiteX3" fmla="*/ 0 w 4224652"/>
              <a:gd name="connsiteY3" fmla="*/ 6896093 h 6896093"/>
              <a:gd name="connsiteX4" fmla="*/ 0 w 4224652"/>
              <a:gd name="connsiteY4" fmla="*/ 0 h 6896093"/>
              <a:gd name="connsiteX0" fmla="*/ 0 w 4224652"/>
              <a:gd name="connsiteY0" fmla="*/ 548640 h 6896093"/>
              <a:gd name="connsiteX1" fmla="*/ 4224652 w 4224652"/>
              <a:gd name="connsiteY1" fmla="*/ 0 h 6896093"/>
              <a:gd name="connsiteX2" fmla="*/ 4224652 w 4224652"/>
              <a:gd name="connsiteY2" fmla="*/ 6896093 h 6896093"/>
              <a:gd name="connsiteX3" fmla="*/ 0 w 4224652"/>
              <a:gd name="connsiteY3" fmla="*/ 6896093 h 6896093"/>
              <a:gd name="connsiteX4" fmla="*/ 0 w 4224652"/>
              <a:gd name="connsiteY4" fmla="*/ 548640 h 6896093"/>
              <a:gd name="connsiteX0" fmla="*/ 0 w 4224652"/>
              <a:gd name="connsiteY0" fmla="*/ 548640 h 6896093"/>
              <a:gd name="connsiteX1" fmla="*/ 4224652 w 4224652"/>
              <a:gd name="connsiteY1" fmla="*/ 0 h 6896093"/>
              <a:gd name="connsiteX2" fmla="*/ 4194172 w 4224652"/>
              <a:gd name="connsiteY2" fmla="*/ 6042653 h 6896093"/>
              <a:gd name="connsiteX3" fmla="*/ 0 w 4224652"/>
              <a:gd name="connsiteY3" fmla="*/ 6896093 h 6896093"/>
              <a:gd name="connsiteX4" fmla="*/ 0 w 4224652"/>
              <a:gd name="connsiteY4" fmla="*/ 548640 h 6896093"/>
              <a:gd name="connsiteX0" fmla="*/ 0 w 4224652"/>
              <a:gd name="connsiteY0" fmla="*/ 304800 h 6652253"/>
              <a:gd name="connsiteX1" fmla="*/ 4224652 w 4224652"/>
              <a:gd name="connsiteY1" fmla="*/ 0 h 6652253"/>
              <a:gd name="connsiteX2" fmla="*/ 4194172 w 4224652"/>
              <a:gd name="connsiteY2" fmla="*/ 5798813 h 6652253"/>
              <a:gd name="connsiteX3" fmla="*/ 0 w 4224652"/>
              <a:gd name="connsiteY3" fmla="*/ 6652253 h 6652253"/>
              <a:gd name="connsiteX4" fmla="*/ 0 w 4224652"/>
              <a:gd name="connsiteY4" fmla="*/ 304800 h 6652253"/>
              <a:gd name="connsiteX0" fmla="*/ 0 w 4224652"/>
              <a:gd name="connsiteY0" fmla="*/ 558800 h 6652253"/>
              <a:gd name="connsiteX1" fmla="*/ 4224652 w 4224652"/>
              <a:gd name="connsiteY1" fmla="*/ 0 h 6652253"/>
              <a:gd name="connsiteX2" fmla="*/ 4194172 w 4224652"/>
              <a:gd name="connsiteY2" fmla="*/ 5798813 h 6652253"/>
              <a:gd name="connsiteX3" fmla="*/ 0 w 4224652"/>
              <a:gd name="connsiteY3" fmla="*/ 6652253 h 6652253"/>
              <a:gd name="connsiteX4" fmla="*/ 0 w 4224652"/>
              <a:gd name="connsiteY4" fmla="*/ 558800 h 6652253"/>
              <a:gd name="connsiteX0" fmla="*/ 0 w 4224652"/>
              <a:gd name="connsiteY0" fmla="*/ 904240 h 6652253"/>
              <a:gd name="connsiteX1" fmla="*/ 4224652 w 4224652"/>
              <a:gd name="connsiteY1" fmla="*/ 0 h 6652253"/>
              <a:gd name="connsiteX2" fmla="*/ 4194172 w 4224652"/>
              <a:gd name="connsiteY2" fmla="*/ 5798813 h 6652253"/>
              <a:gd name="connsiteX3" fmla="*/ 0 w 4224652"/>
              <a:gd name="connsiteY3" fmla="*/ 6652253 h 6652253"/>
              <a:gd name="connsiteX4" fmla="*/ 0 w 4224652"/>
              <a:gd name="connsiteY4" fmla="*/ 904240 h 6652253"/>
              <a:gd name="connsiteX0" fmla="*/ 0 w 4224652"/>
              <a:gd name="connsiteY0" fmla="*/ 873760 h 6621773"/>
              <a:gd name="connsiteX1" fmla="*/ 4224652 w 4224652"/>
              <a:gd name="connsiteY1" fmla="*/ 0 h 6621773"/>
              <a:gd name="connsiteX2" fmla="*/ 4194172 w 4224652"/>
              <a:gd name="connsiteY2" fmla="*/ 5768333 h 6621773"/>
              <a:gd name="connsiteX3" fmla="*/ 0 w 4224652"/>
              <a:gd name="connsiteY3" fmla="*/ 6621773 h 6621773"/>
              <a:gd name="connsiteX4" fmla="*/ 0 w 4224652"/>
              <a:gd name="connsiteY4" fmla="*/ 873760 h 6621773"/>
              <a:gd name="connsiteX0" fmla="*/ 0 w 4224652"/>
              <a:gd name="connsiteY0" fmla="*/ 873760 h 6621773"/>
              <a:gd name="connsiteX1" fmla="*/ 4224652 w 4224652"/>
              <a:gd name="connsiteY1" fmla="*/ 0 h 6621773"/>
              <a:gd name="connsiteX2" fmla="*/ 4223175 w 4224652"/>
              <a:gd name="connsiteY2" fmla="*/ 5757743 h 6621773"/>
              <a:gd name="connsiteX3" fmla="*/ 0 w 4224652"/>
              <a:gd name="connsiteY3" fmla="*/ 6621773 h 6621773"/>
              <a:gd name="connsiteX4" fmla="*/ 0 w 4224652"/>
              <a:gd name="connsiteY4" fmla="*/ 873760 h 6621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24652" h="6621773">
                <a:moveTo>
                  <a:pt x="0" y="873760"/>
                </a:moveTo>
                <a:lnTo>
                  <a:pt x="4224652" y="0"/>
                </a:lnTo>
                <a:cubicBezTo>
                  <a:pt x="4224160" y="1919248"/>
                  <a:pt x="4223667" y="3838495"/>
                  <a:pt x="4223175" y="5757743"/>
                </a:cubicBezTo>
                <a:lnTo>
                  <a:pt x="0" y="6621773"/>
                </a:lnTo>
                <a:lnTo>
                  <a:pt x="0" y="87376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</a:lstStyle>
          <a:p>
            <a:r>
              <a:rPr lang="en-US"/>
              <a:t> To insert picture, drag to placeholder or click icon to add.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09601" y="1943100"/>
            <a:ext cx="3549759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4321122" y="1943100"/>
            <a:ext cx="3549759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/>
            </a:lvl1pPr>
            <a:lvl2pPr>
              <a:spcBef>
                <a:spcPts val="800"/>
              </a:spcBef>
              <a:defRPr sz="1400"/>
            </a:lvl2pPr>
            <a:lvl3pPr>
              <a:spcBef>
                <a:spcPts val="800"/>
              </a:spcBef>
              <a:defRPr sz="1400"/>
            </a:lvl3pPr>
            <a:lvl4pPr>
              <a:spcBef>
                <a:spcPts val="800"/>
              </a:spcBef>
              <a:defRPr sz="1400"/>
            </a:lvl4pPr>
            <a:lvl5pPr>
              <a:spcBef>
                <a:spcPts val="800"/>
              </a:spcBef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525207932"/>
      </p:ext>
    </p:extLst>
  </p:cSld>
  <p:clrMapOvr>
    <a:masterClrMapping/>
  </p:clrMapOvr>
  <p:transition spd="slow">
    <p:push dir="u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 flipH="1" flipV="1">
            <a:off x="0" y="-2"/>
            <a:ext cx="4165600" cy="2405103"/>
            <a:chOff x="914400" y="1331650"/>
            <a:chExt cx="8211846" cy="5557422"/>
          </a:xfrm>
        </p:grpSpPr>
        <p:sp>
          <p:nvSpPr>
            <p:cNvPr id="23" name="Freeform 22"/>
            <p:cNvSpPr/>
            <p:nvPr userDrawn="1"/>
          </p:nvSpPr>
          <p:spPr>
            <a:xfrm>
              <a:off x="3808522" y="1331650"/>
              <a:ext cx="5317724" cy="4092606"/>
            </a:xfrm>
            <a:custGeom>
              <a:avLst/>
              <a:gdLst>
                <a:gd name="connsiteX0" fmla="*/ 7918882 w 7918882"/>
                <a:gd name="connsiteY0" fmla="*/ 0 h 3355759"/>
                <a:gd name="connsiteX1" fmla="*/ 7918882 w 7918882"/>
                <a:gd name="connsiteY1" fmla="*/ 3355759 h 3355759"/>
                <a:gd name="connsiteX2" fmla="*/ 0 w 7918882"/>
                <a:gd name="connsiteY2" fmla="*/ 3355759 h 3355759"/>
                <a:gd name="connsiteX3" fmla="*/ 7918882 w 7918882"/>
                <a:gd name="connsiteY3" fmla="*/ 0 h 3355759"/>
                <a:gd name="connsiteX0" fmla="*/ 7918882 w 7918882"/>
                <a:gd name="connsiteY0" fmla="*/ 0 h 3355759"/>
                <a:gd name="connsiteX1" fmla="*/ 7918882 w 7918882"/>
                <a:gd name="connsiteY1" fmla="*/ 3355759 h 3355759"/>
                <a:gd name="connsiteX2" fmla="*/ 0 w 7918882"/>
                <a:gd name="connsiteY2" fmla="*/ 3355759 h 3355759"/>
                <a:gd name="connsiteX3" fmla="*/ 3458625 w 7918882"/>
                <a:gd name="connsiteY3" fmla="*/ 1864310 h 3355759"/>
                <a:gd name="connsiteX4" fmla="*/ 7918882 w 7918882"/>
                <a:gd name="connsiteY4" fmla="*/ 0 h 3355759"/>
                <a:gd name="connsiteX0" fmla="*/ 5128011 w 5128011"/>
                <a:gd name="connsiteY0" fmla="*/ 2201663 h 5557422"/>
                <a:gd name="connsiteX1" fmla="*/ 5128011 w 5128011"/>
                <a:gd name="connsiteY1" fmla="*/ 5557422 h 5557422"/>
                <a:gd name="connsiteX2" fmla="*/ 0 w 5128011"/>
                <a:gd name="connsiteY2" fmla="*/ 0 h 5557422"/>
                <a:gd name="connsiteX3" fmla="*/ 667754 w 5128011"/>
                <a:gd name="connsiteY3" fmla="*/ 4065973 h 5557422"/>
                <a:gd name="connsiteX4" fmla="*/ 5128011 w 5128011"/>
                <a:gd name="connsiteY4" fmla="*/ 2201663 h 5557422"/>
                <a:gd name="connsiteX0" fmla="*/ 5128011 w 5128011"/>
                <a:gd name="connsiteY0" fmla="*/ 2201663 h 4065973"/>
                <a:gd name="connsiteX1" fmla="*/ 0 w 5128011"/>
                <a:gd name="connsiteY1" fmla="*/ 0 h 4065973"/>
                <a:gd name="connsiteX2" fmla="*/ 667754 w 5128011"/>
                <a:gd name="connsiteY2" fmla="*/ 4065973 h 4065973"/>
                <a:gd name="connsiteX3" fmla="*/ 5128011 w 5128011"/>
                <a:gd name="connsiteY3" fmla="*/ 2201663 h 4065973"/>
                <a:gd name="connsiteX0" fmla="*/ 5128011 w 5128011"/>
                <a:gd name="connsiteY0" fmla="*/ 2201663 h 4092606"/>
                <a:gd name="connsiteX1" fmla="*/ 0 w 5128011"/>
                <a:gd name="connsiteY1" fmla="*/ 0 h 4092606"/>
                <a:gd name="connsiteX2" fmla="*/ 667754 w 5128011"/>
                <a:gd name="connsiteY2" fmla="*/ 4092606 h 4092606"/>
                <a:gd name="connsiteX3" fmla="*/ 5128011 w 5128011"/>
                <a:gd name="connsiteY3" fmla="*/ 2201663 h 409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28011" h="4092606">
                  <a:moveTo>
                    <a:pt x="5128011" y="2201663"/>
                  </a:moveTo>
                  <a:lnTo>
                    <a:pt x="0" y="0"/>
                  </a:lnTo>
                  <a:lnTo>
                    <a:pt x="667754" y="4092606"/>
                  </a:lnTo>
                  <a:lnTo>
                    <a:pt x="5128011" y="220166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b="0" i="0" spc="30" baseline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  <p:sp>
          <p:nvSpPr>
            <p:cNvPr id="24" name="Freeform 23"/>
            <p:cNvSpPr/>
            <p:nvPr userDrawn="1"/>
          </p:nvSpPr>
          <p:spPr>
            <a:xfrm>
              <a:off x="914400" y="3533313"/>
              <a:ext cx="8211845" cy="3355759"/>
            </a:xfrm>
            <a:custGeom>
              <a:avLst/>
              <a:gdLst>
                <a:gd name="connsiteX0" fmla="*/ 7918882 w 7918882"/>
                <a:gd name="connsiteY0" fmla="*/ 0 h 3355759"/>
                <a:gd name="connsiteX1" fmla="*/ 7918882 w 7918882"/>
                <a:gd name="connsiteY1" fmla="*/ 3355759 h 3355759"/>
                <a:gd name="connsiteX2" fmla="*/ 0 w 7918882"/>
                <a:gd name="connsiteY2" fmla="*/ 3355759 h 3355759"/>
                <a:gd name="connsiteX3" fmla="*/ 7918882 w 7918882"/>
                <a:gd name="connsiteY3" fmla="*/ 0 h 335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8882" h="3355759">
                  <a:moveTo>
                    <a:pt x="7918882" y="0"/>
                  </a:moveTo>
                  <a:lnTo>
                    <a:pt x="7918882" y="3355759"/>
                  </a:lnTo>
                  <a:lnTo>
                    <a:pt x="0" y="3355759"/>
                  </a:lnTo>
                  <a:lnTo>
                    <a:pt x="791888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b="0" i="0" spc="30" baseline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</p:grp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609603" y="666108"/>
            <a:ext cx="3555999" cy="1276995"/>
          </a:xfrm>
        </p:spPr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09603" y="2510882"/>
            <a:ext cx="3555999" cy="1756318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 baseline="0"/>
            </a:lvl1pPr>
            <a:lvl2pPr>
              <a:spcBef>
                <a:spcPts val="800"/>
              </a:spcBef>
              <a:defRPr sz="1400" baseline="0"/>
            </a:lvl2pPr>
            <a:lvl3pPr>
              <a:spcBef>
                <a:spcPts val="800"/>
              </a:spcBef>
              <a:defRPr sz="1400" baseline="0"/>
            </a:lvl3pPr>
            <a:lvl4pPr>
              <a:spcBef>
                <a:spcPts val="800"/>
              </a:spcBef>
              <a:defRPr sz="1400" baseline="0"/>
            </a:lvl4pPr>
            <a:lvl5pPr>
              <a:spcBef>
                <a:spcPts val="800"/>
              </a:spcBef>
              <a:defRPr sz="14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4437088" y="701780"/>
            <a:ext cx="7145312" cy="3565423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 baseline="0"/>
            </a:lvl1pPr>
            <a:lvl2pPr>
              <a:spcBef>
                <a:spcPts val="800"/>
              </a:spcBef>
              <a:defRPr sz="1400" baseline="0"/>
            </a:lvl2pPr>
            <a:lvl3pPr>
              <a:spcBef>
                <a:spcPts val="800"/>
              </a:spcBef>
              <a:defRPr sz="1400" baseline="0"/>
            </a:lvl3pPr>
            <a:lvl4pPr>
              <a:spcBef>
                <a:spcPts val="800"/>
              </a:spcBef>
              <a:defRPr sz="1400" baseline="0"/>
            </a:lvl4pPr>
            <a:lvl5pPr>
              <a:spcBef>
                <a:spcPts val="800"/>
              </a:spcBef>
              <a:defRPr sz="14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609603" y="4428172"/>
            <a:ext cx="3555999" cy="1756318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 baseline="0"/>
            </a:lvl1pPr>
            <a:lvl2pPr>
              <a:spcBef>
                <a:spcPts val="800"/>
              </a:spcBef>
              <a:defRPr sz="1400" baseline="0"/>
            </a:lvl2pPr>
            <a:lvl3pPr>
              <a:spcBef>
                <a:spcPts val="800"/>
              </a:spcBef>
              <a:defRPr sz="1400" baseline="0"/>
            </a:lvl3pPr>
            <a:lvl4pPr>
              <a:spcBef>
                <a:spcPts val="800"/>
              </a:spcBef>
              <a:defRPr sz="1400" baseline="0"/>
            </a:lvl4pPr>
            <a:lvl5pPr>
              <a:spcBef>
                <a:spcPts val="800"/>
              </a:spcBef>
              <a:defRPr sz="14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4437090" y="4428172"/>
            <a:ext cx="3506140" cy="1756318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 baseline="0"/>
            </a:lvl1pPr>
            <a:lvl2pPr>
              <a:spcBef>
                <a:spcPts val="800"/>
              </a:spcBef>
              <a:defRPr sz="1400" baseline="0"/>
            </a:lvl2pPr>
            <a:lvl3pPr>
              <a:spcBef>
                <a:spcPts val="800"/>
              </a:spcBef>
              <a:defRPr sz="1400" baseline="0"/>
            </a:lvl3pPr>
            <a:lvl4pPr>
              <a:spcBef>
                <a:spcPts val="800"/>
              </a:spcBef>
              <a:defRPr sz="1400" baseline="0"/>
            </a:lvl4pPr>
            <a:lvl5pPr>
              <a:spcBef>
                <a:spcPts val="800"/>
              </a:spcBef>
              <a:defRPr sz="14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76263" y="4428172"/>
            <a:ext cx="3506140" cy="1756318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 baseline="0"/>
            </a:lvl1pPr>
            <a:lvl2pPr>
              <a:spcBef>
                <a:spcPts val="800"/>
              </a:spcBef>
              <a:defRPr sz="1400" baseline="0"/>
            </a:lvl2pPr>
            <a:lvl3pPr>
              <a:spcBef>
                <a:spcPts val="800"/>
              </a:spcBef>
              <a:defRPr sz="1400" baseline="0"/>
            </a:lvl3pPr>
            <a:lvl4pPr>
              <a:spcBef>
                <a:spcPts val="800"/>
              </a:spcBef>
              <a:defRPr sz="1400" baseline="0"/>
            </a:lvl4pPr>
            <a:lvl5pPr>
              <a:spcBef>
                <a:spcPts val="800"/>
              </a:spcBef>
              <a:defRPr sz="14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3593475585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0" y="1032386"/>
            <a:ext cx="10972800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555222588"/>
      </p:ext>
    </p:extLst>
  </p:cSld>
  <p:clrMapOvr>
    <a:masterClrMapping/>
  </p:clrMapOvr>
  <p:transition spd="slow">
    <p:push dir="u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-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b="0" i="0" kern="1200" spc="0" baseline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301843244"/>
      </p:ext>
    </p:extLst>
  </p:cSld>
  <p:clrMapOvr>
    <a:masterClrMapping/>
  </p:clrMapOvr>
  <p:transition spd="slow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5803"/>
            <a:ext cx="10972800" cy="3932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09600" y="1032386"/>
            <a:ext cx="10972800" cy="40798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785593" y="2174875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1490289" y="3249616"/>
            <a:ext cx="1578161" cy="623887"/>
          </a:xfrm>
        </p:spPr>
        <p:txBody>
          <a:bodyPr/>
          <a:lstStyle>
            <a:lvl1pPr algn="ctr">
              <a:spcBef>
                <a:spcPts val="400"/>
              </a:spcBef>
              <a:defRPr sz="1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333097" y="2174875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endParaRPr lang="en-US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037793" y="3249616"/>
            <a:ext cx="1578161" cy="623887"/>
          </a:xfrm>
        </p:spPr>
        <p:txBody>
          <a:bodyPr/>
          <a:lstStyle>
            <a:lvl1pPr algn="ctr">
              <a:spcBef>
                <a:spcPts val="400"/>
              </a:spcBef>
              <a:defRPr sz="1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428106" y="2174875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9132802" y="3249616"/>
            <a:ext cx="1578161" cy="623887"/>
          </a:xfrm>
        </p:spPr>
        <p:txBody>
          <a:bodyPr/>
          <a:lstStyle>
            <a:lvl1pPr algn="ctr">
              <a:spcBef>
                <a:spcPts val="400"/>
              </a:spcBef>
              <a:defRPr sz="1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6880601" y="2174875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endParaRPr lang="en-US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6585297" y="3249616"/>
            <a:ext cx="1578161" cy="623887"/>
          </a:xfrm>
        </p:spPr>
        <p:txBody>
          <a:bodyPr/>
          <a:lstStyle>
            <a:lvl1pPr algn="ctr">
              <a:spcBef>
                <a:spcPts val="400"/>
              </a:spcBef>
              <a:defRPr sz="1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1785593" y="4191000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endParaRPr lang="en-US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1490289" y="5265741"/>
            <a:ext cx="1578161" cy="623887"/>
          </a:xfrm>
        </p:spPr>
        <p:txBody>
          <a:bodyPr/>
          <a:lstStyle>
            <a:lvl1pPr algn="ctr">
              <a:spcBef>
                <a:spcPts val="400"/>
              </a:spcBef>
              <a:defRPr sz="1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333097" y="4191000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endParaRPr lang="en-US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037793" y="5265741"/>
            <a:ext cx="1578161" cy="623887"/>
          </a:xfrm>
        </p:spPr>
        <p:txBody>
          <a:bodyPr/>
          <a:lstStyle>
            <a:lvl1pPr algn="ctr">
              <a:spcBef>
                <a:spcPts val="400"/>
              </a:spcBef>
              <a:defRPr sz="1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9428106" y="4191000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endParaRPr lang="en-US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9132802" y="5265741"/>
            <a:ext cx="1578161" cy="623887"/>
          </a:xfrm>
        </p:spPr>
        <p:txBody>
          <a:bodyPr/>
          <a:lstStyle>
            <a:lvl1pPr algn="ctr">
              <a:spcBef>
                <a:spcPts val="400"/>
              </a:spcBef>
              <a:defRPr sz="1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6880601" y="4191000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ctr">
              <a:defRPr sz="1050"/>
            </a:lvl1pPr>
          </a:lstStyle>
          <a:p>
            <a:endParaRPr lang="en-US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9"/>
          </p:nvPr>
        </p:nvSpPr>
        <p:spPr>
          <a:xfrm>
            <a:off x="6585297" y="5265741"/>
            <a:ext cx="1578161" cy="623887"/>
          </a:xfrm>
        </p:spPr>
        <p:txBody>
          <a:bodyPr/>
          <a:lstStyle>
            <a:lvl1pPr algn="ctr">
              <a:spcBef>
                <a:spcPts val="400"/>
              </a:spcBef>
              <a:defRPr sz="12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40724782"/>
      </p:ext>
    </p:extLst>
  </p:cSld>
  <p:clrMapOvr>
    <a:masterClrMapping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 w/ Green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 userDrawn="1"/>
        </p:nvSpPr>
        <p:spPr>
          <a:xfrm>
            <a:off x="13828" y="0"/>
            <a:ext cx="5186245" cy="6858000"/>
          </a:xfrm>
          <a:custGeom>
            <a:avLst/>
            <a:gdLst>
              <a:gd name="connsiteX0" fmla="*/ 0 w 1413862"/>
              <a:gd name="connsiteY0" fmla="*/ 0 h 2328262"/>
              <a:gd name="connsiteX1" fmla="*/ 0 w 1413862"/>
              <a:gd name="connsiteY1" fmla="*/ 2328262 h 2328262"/>
              <a:gd name="connsiteX2" fmla="*/ 1413862 w 1413862"/>
              <a:gd name="connsiteY2" fmla="*/ 2328262 h 2328262"/>
              <a:gd name="connsiteX3" fmla="*/ 0 w 1413862"/>
              <a:gd name="connsiteY3" fmla="*/ 0 h 2328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3862" h="2328262">
                <a:moveTo>
                  <a:pt x="0" y="0"/>
                </a:moveTo>
                <a:lnTo>
                  <a:pt x="0" y="2328262"/>
                </a:lnTo>
                <a:lnTo>
                  <a:pt x="1413862" y="23282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lang="en-US" sz="700" b="0" i="0" kern="1200" spc="0" baseline="0" smtClean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868745"/>
      </p:ext>
    </p:extLst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</p:spTree>
    <p:extLst>
      <p:ext uri="{BB962C8B-B14F-4D97-AF65-F5344CB8AC3E}">
        <p14:creationId xmlns:p14="http://schemas.microsoft.com/office/powerpoint/2010/main" val="2986785852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3118436"/>
      </p:ext>
    </p:extLst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gnof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 userDrawn="1"/>
        </p:nvGrpSpPr>
        <p:grpSpPr>
          <a:xfrm>
            <a:off x="2" y="-4763"/>
            <a:ext cx="6391562" cy="3763964"/>
            <a:chOff x="0" y="-4763"/>
            <a:chExt cx="6388101" cy="3763964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6383338" cy="3754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5"/>
            <p:cNvSpPr>
              <a:spLocks/>
            </p:cNvSpPr>
            <p:nvPr userDrawn="1"/>
          </p:nvSpPr>
          <p:spPr bwMode="auto">
            <a:xfrm>
              <a:off x="1009650" y="-4763"/>
              <a:ext cx="2720975" cy="2070100"/>
            </a:xfrm>
            <a:custGeom>
              <a:avLst/>
              <a:gdLst>
                <a:gd name="T0" fmla="*/ 1081 w 1714"/>
                <a:gd name="T1" fmla="*/ 0 h 1304"/>
                <a:gd name="T2" fmla="*/ 609 w 1714"/>
                <a:gd name="T3" fmla="*/ 328 h 1304"/>
                <a:gd name="T4" fmla="*/ 0 w 1714"/>
                <a:gd name="T5" fmla="*/ 1304 h 1304"/>
                <a:gd name="T6" fmla="*/ 1714 w 1714"/>
                <a:gd name="T7" fmla="*/ 331 h 1304"/>
                <a:gd name="T8" fmla="*/ 1659 w 1714"/>
                <a:gd name="T9" fmla="*/ 0 h 1304"/>
                <a:gd name="T10" fmla="*/ 1081 w 1714"/>
                <a:gd name="T11" fmla="*/ 0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14" h="1304">
                  <a:moveTo>
                    <a:pt x="1081" y="0"/>
                  </a:moveTo>
                  <a:lnTo>
                    <a:pt x="609" y="328"/>
                  </a:lnTo>
                  <a:lnTo>
                    <a:pt x="0" y="1304"/>
                  </a:lnTo>
                  <a:lnTo>
                    <a:pt x="1714" y="331"/>
                  </a:lnTo>
                  <a:lnTo>
                    <a:pt x="1659" y="0"/>
                  </a:lnTo>
                  <a:lnTo>
                    <a:pt x="1081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3662363" y="-4763"/>
              <a:ext cx="2725738" cy="890588"/>
            </a:xfrm>
            <a:custGeom>
              <a:avLst/>
              <a:gdLst>
                <a:gd name="T0" fmla="*/ 0 w 1717"/>
                <a:gd name="T1" fmla="*/ 0 h 561"/>
                <a:gd name="T2" fmla="*/ 1022 w 1717"/>
                <a:gd name="T3" fmla="*/ 561 h 561"/>
                <a:gd name="T4" fmla="*/ 1717 w 1717"/>
                <a:gd name="T5" fmla="*/ 0 h 561"/>
                <a:gd name="T6" fmla="*/ 0 w 1717"/>
                <a:gd name="T7" fmla="*/ 0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17" h="561">
                  <a:moveTo>
                    <a:pt x="0" y="0"/>
                  </a:moveTo>
                  <a:lnTo>
                    <a:pt x="1022" y="561"/>
                  </a:lnTo>
                  <a:lnTo>
                    <a:pt x="171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C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7"/>
            <p:cNvSpPr>
              <a:spLocks/>
            </p:cNvSpPr>
            <p:nvPr userDrawn="1"/>
          </p:nvSpPr>
          <p:spPr bwMode="auto">
            <a:xfrm>
              <a:off x="3638484" y="-4763"/>
              <a:ext cx="1653446" cy="892957"/>
            </a:xfrm>
            <a:custGeom>
              <a:avLst/>
              <a:gdLst>
                <a:gd name="T0" fmla="*/ 0 w 1007"/>
                <a:gd name="T1" fmla="*/ 0 h 555"/>
                <a:gd name="T2" fmla="*/ 52 w 1007"/>
                <a:gd name="T3" fmla="*/ 319 h 555"/>
                <a:gd name="T4" fmla="*/ 1007 w 1007"/>
                <a:gd name="T5" fmla="*/ 555 h 555"/>
                <a:gd name="T6" fmla="*/ 9 w 1007"/>
                <a:gd name="T7" fmla="*/ 0 h 555"/>
                <a:gd name="T8" fmla="*/ 0 w 1007"/>
                <a:gd name="T9" fmla="*/ 0 h 555"/>
                <a:gd name="connsiteX0" fmla="*/ 0 w 10060"/>
                <a:gd name="connsiteY0" fmla="*/ 27 h 10000"/>
                <a:gd name="connsiteX1" fmla="*/ 576 w 10060"/>
                <a:gd name="connsiteY1" fmla="*/ 5748 h 10000"/>
                <a:gd name="connsiteX2" fmla="*/ 10060 w 10060"/>
                <a:gd name="connsiteY2" fmla="*/ 10000 h 10000"/>
                <a:gd name="connsiteX3" fmla="*/ 149 w 10060"/>
                <a:gd name="connsiteY3" fmla="*/ 0 h 10000"/>
                <a:gd name="connsiteX4" fmla="*/ 0 w 10060"/>
                <a:gd name="connsiteY4" fmla="*/ 27 h 10000"/>
                <a:gd name="connsiteX0" fmla="*/ 0 w 10060"/>
                <a:gd name="connsiteY0" fmla="*/ 27 h 10000"/>
                <a:gd name="connsiteX1" fmla="*/ 576 w 10060"/>
                <a:gd name="connsiteY1" fmla="*/ 5964 h 10000"/>
                <a:gd name="connsiteX2" fmla="*/ 10060 w 10060"/>
                <a:gd name="connsiteY2" fmla="*/ 10000 h 10000"/>
                <a:gd name="connsiteX3" fmla="*/ 149 w 10060"/>
                <a:gd name="connsiteY3" fmla="*/ 0 h 10000"/>
                <a:gd name="connsiteX4" fmla="*/ 0 w 10060"/>
                <a:gd name="connsiteY4" fmla="*/ 27 h 10000"/>
                <a:gd name="connsiteX0" fmla="*/ 0 w 10283"/>
                <a:gd name="connsiteY0" fmla="*/ 27 h 10135"/>
                <a:gd name="connsiteX1" fmla="*/ 576 w 10283"/>
                <a:gd name="connsiteY1" fmla="*/ 5964 h 10135"/>
                <a:gd name="connsiteX2" fmla="*/ 10283 w 10283"/>
                <a:gd name="connsiteY2" fmla="*/ 10135 h 10135"/>
                <a:gd name="connsiteX3" fmla="*/ 149 w 10283"/>
                <a:gd name="connsiteY3" fmla="*/ 0 h 10135"/>
                <a:gd name="connsiteX4" fmla="*/ 0 w 10283"/>
                <a:gd name="connsiteY4" fmla="*/ 27 h 10135"/>
                <a:gd name="connsiteX0" fmla="*/ 0 w 10343"/>
                <a:gd name="connsiteY0" fmla="*/ 27 h 10135"/>
                <a:gd name="connsiteX1" fmla="*/ 576 w 10343"/>
                <a:gd name="connsiteY1" fmla="*/ 5964 h 10135"/>
                <a:gd name="connsiteX2" fmla="*/ 10343 w 10343"/>
                <a:gd name="connsiteY2" fmla="*/ 10135 h 10135"/>
                <a:gd name="connsiteX3" fmla="*/ 149 w 10343"/>
                <a:gd name="connsiteY3" fmla="*/ 0 h 10135"/>
                <a:gd name="connsiteX4" fmla="*/ 0 w 10343"/>
                <a:gd name="connsiteY4" fmla="*/ 27 h 10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343" h="10135">
                  <a:moveTo>
                    <a:pt x="0" y="27"/>
                  </a:moveTo>
                  <a:lnTo>
                    <a:pt x="576" y="5964"/>
                  </a:lnTo>
                  <a:lnTo>
                    <a:pt x="10343" y="10135"/>
                  </a:lnTo>
                  <a:lnTo>
                    <a:pt x="149" y="0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BAE3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8"/>
            <p:cNvSpPr>
              <a:spLocks/>
            </p:cNvSpPr>
            <p:nvPr userDrawn="1"/>
          </p:nvSpPr>
          <p:spPr bwMode="auto">
            <a:xfrm>
              <a:off x="0" y="-4763"/>
              <a:ext cx="2740025" cy="1943100"/>
            </a:xfrm>
            <a:custGeom>
              <a:avLst/>
              <a:gdLst>
                <a:gd name="T0" fmla="*/ 0 w 1726"/>
                <a:gd name="T1" fmla="*/ 0 h 1224"/>
                <a:gd name="T2" fmla="*/ 0 w 1726"/>
                <a:gd name="T3" fmla="*/ 1224 h 1224"/>
                <a:gd name="T4" fmla="*/ 1726 w 1726"/>
                <a:gd name="T5" fmla="*/ 0 h 1224"/>
                <a:gd name="T6" fmla="*/ 0 w 1726"/>
                <a:gd name="T7" fmla="*/ 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6" h="1224">
                  <a:moveTo>
                    <a:pt x="0" y="0"/>
                  </a:moveTo>
                  <a:lnTo>
                    <a:pt x="0" y="1224"/>
                  </a:lnTo>
                  <a:lnTo>
                    <a:pt x="17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AE3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9"/>
            <p:cNvSpPr>
              <a:spLocks/>
            </p:cNvSpPr>
            <p:nvPr userDrawn="1"/>
          </p:nvSpPr>
          <p:spPr bwMode="auto">
            <a:xfrm>
              <a:off x="1" y="534158"/>
              <a:ext cx="1981184" cy="3225043"/>
            </a:xfrm>
            <a:custGeom>
              <a:avLst/>
              <a:gdLst>
                <a:gd name="T0" fmla="*/ 0 w 1224"/>
                <a:gd name="T1" fmla="*/ 868 h 2015"/>
                <a:gd name="T2" fmla="*/ 0 w 1224"/>
                <a:gd name="T3" fmla="*/ 2015 h 2015"/>
                <a:gd name="T4" fmla="*/ 1224 w 1224"/>
                <a:gd name="T5" fmla="*/ 0 h 2015"/>
                <a:gd name="T6" fmla="*/ 0 w 1224"/>
                <a:gd name="T7" fmla="*/ 868 h 2015"/>
                <a:gd name="connsiteX0" fmla="*/ 0 w 10159"/>
                <a:gd name="connsiteY0" fmla="*/ 4390 h 10082"/>
                <a:gd name="connsiteX1" fmla="*/ 0 w 10159"/>
                <a:gd name="connsiteY1" fmla="*/ 10082 h 10082"/>
                <a:gd name="connsiteX2" fmla="*/ 10159 w 10159"/>
                <a:gd name="connsiteY2" fmla="*/ 0 h 10082"/>
                <a:gd name="connsiteX3" fmla="*/ 0 w 10159"/>
                <a:gd name="connsiteY3" fmla="*/ 4390 h 10082"/>
                <a:gd name="connsiteX0" fmla="*/ 0 w 10196"/>
                <a:gd name="connsiteY0" fmla="*/ 4390 h 10082"/>
                <a:gd name="connsiteX1" fmla="*/ 0 w 10196"/>
                <a:gd name="connsiteY1" fmla="*/ 10082 h 10082"/>
                <a:gd name="connsiteX2" fmla="*/ 10196 w 10196"/>
                <a:gd name="connsiteY2" fmla="*/ 0 h 10082"/>
                <a:gd name="connsiteX3" fmla="*/ 0 w 10196"/>
                <a:gd name="connsiteY3" fmla="*/ 4390 h 10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96" h="10082">
                  <a:moveTo>
                    <a:pt x="0" y="4390"/>
                  </a:moveTo>
                  <a:lnTo>
                    <a:pt x="0" y="10082"/>
                  </a:lnTo>
                  <a:lnTo>
                    <a:pt x="10196" y="0"/>
                  </a:lnTo>
                  <a:lnTo>
                    <a:pt x="0" y="4390"/>
                  </a:lnTo>
                  <a:close/>
                </a:path>
              </a:pathLst>
            </a:custGeom>
            <a:solidFill>
              <a:srgbClr val="8AC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9633" y="2896343"/>
            <a:ext cx="5486401" cy="1054223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609600" y="6156587"/>
            <a:ext cx="5793763" cy="2708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"/>
              <a:t>©2019 Guidehouse All rights reserved. This content is for general information purposes only, and should not be used as a substitute for consultation with professional advisors.</a:t>
            </a:r>
            <a:endParaRPr lang="en-US" sz="800" b="0" i="0" spc="30" baseline="0">
              <a:ea typeface="Neue Haas Grotesk Display Std 55 Roman" charset="0"/>
              <a:cs typeface="Neue Haas Grotesk Display Std 55 Roman" charset="0"/>
            </a:endParaRPr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5600525"/>
            <a:ext cx="1508760" cy="380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265646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ignof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13828" y="0"/>
            <a:ext cx="5186245" cy="6858000"/>
          </a:xfrm>
          <a:custGeom>
            <a:avLst/>
            <a:gdLst>
              <a:gd name="connsiteX0" fmla="*/ 0 w 1413862"/>
              <a:gd name="connsiteY0" fmla="*/ 0 h 2328262"/>
              <a:gd name="connsiteX1" fmla="*/ 0 w 1413862"/>
              <a:gd name="connsiteY1" fmla="*/ 2328262 h 2328262"/>
              <a:gd name="connsiteX2" fmla="*/ 1413862 w 1413862"/>
              <a:gd name="connsiteY2" fmla="*/ 2328262 h 2328262"/>
              <a:gd name="connsiteX3" fmla="*/ 0 w 1413862"/>
              <a:gd name="connsiteY3" fmla="*/ 0 h 2328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13862" h="2328262">
                <a:moveTo>
                  <a:pt x="0" y="0"/>
                </a:moveTo>
                <a:lnTo>
                  <a:pt x="0" y="2328262"/>
                </a:lnTo>
                <a:lnTo>
                  <a:pt x="1413862" y="23282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712784"/>
            <a:ext cx="5424257" cy="1042416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000" baseline="0"/>
            </a:lvl1pPr>
          </a:lstStyle>
          <a:p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609601" y="6156587"/>
            <a:ext cx="4073236" cy="2708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"/>
              <a:t>©2019 Guidehouse All rights reserved. This content is for general information purposes only, and should not be used as a substitute for consultation with professional advisors.</a:t>
            </a:r>
            <a:endParaRPr lang="en-US" sz="800" b="0" i="0" spc="30" baseline="0">
              <a:ea typeface="Neue Haas Grotesk Display Std 55 Roman" charset="0"/>
              <a:cs typeface="Neue Haas Grotesk Display Std 55 Roman" charset="0"/>
            </a:endParaRPr>
          </a:p>
        </p:txBody>
      </p:sp>
      <p:pic>
        <p:nvPicPr>
          <p:cNvPr id="9" name="Picture 8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5599514"/>
            <a:ext cx="1508760" cy="38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04026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9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ignof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2780145" y="1308598"/>
            <a:ext cx="9408674" cy="5557422"/>
            <a:chOff x="914400" y="1331650"/>
            <a:chExt cx="8211846" cy="5557422"/>
          </a:xfrm>
        </p:grpSpPr>
        <p:sp>
          <p:nvSpPr>
            <p:cNvPr id="13" name="Freeform 12"/>
            <p:cNvSpPr/>
            <p:nvPr userDrawn="1"/>
          </p:nvSpPr>
          <p:spPr>
            <a:xfrm>
              <a:off x="3808522" y="1331650"/>
              <a:ext cx="5317724" cy="4092606"/>
            </a:xfrm>
            <a:custGeom>
              <a:avLst/>
              <a:gdLst>
                <a:gd name="connsiteX0" fmla="*/ 7918882 w 7918882"/>
                <a:gd name="connsiteY0" fmla="*/ 0 h 3355759"/>
                <a:gd name="connsiteX1" fmla="*/ 7918882 w 7918882"/>
                <a:gd name="connsiteY1" fmla="*/ 3355759 h 3355759"/>
                <a:gd name="connsiteX2" fmla="*/ 0 w 7918882"/>
                <a:gd name="connsiteY2" fmla="*/ 3355759 h 3355759"/>
                <a:gd name="connsiteX3" fmla="*/ 7918882 w 7918882"/>
                <a:gd name="connsiteY3" fmla="*/ 0 h 3355759"/>
                <a:gd name="connsiteX0" fmla="*/ 7918882 w 7918882"/>
                <a:gd name="connsiteY0" fmla="*/ 0 h 3355759"/>
                <a:gd name="connsiteX1" fmla="*/ 7918882 w 7918882"/>
                <a:gd name="connsiteY1" fmla="*/ 3355759 h 3355759"/>
                <a:gd name="connsiteX2" fmla="*/ 0 w 7918882"/>
                <a:gd name="connsiteY2" fmla="*/ 3355759 h 3355759"/>
                <a:gd name="connsiteX3" fmla="*/ 3458625 w 7918882"/>
                <a:gd name="connsiteY3" fmla="*/ 1864310 h 3355759"/>
                <a:gd name="connsiteX4" fmla="*/ 7918882 w 7918882"/>
                <a:gd name="connsiteY4" fmla="*/ 0 h 3355759"/>
                <a:gd name="connsiteX0" fmla="*/ 5128011 w 5128011"/>
                <a:gd name="connsiteY0" fmla="*/ 2201663 h 5557422"/>
                <a:gd name="connsiteX1" fmla="*/ 5128011 w 5128011"/>
                <a:gd name="connsiteY1" fmla="*/ 5557422 h 5557422"/>
                <a:gd name="connsiteX2" fmla="*/ 0 w 5128011"/>
                <a:gd name="connsiteY2" fmla="*/ 0 h 5557422"/>
                <a:gd name="connsiteX3" fmla="*/ 667754 w 5128011"/>
                <a:gd name="connsiteY3" fmla="*/ 4065973 h 5557422"/>
                <a:gd name="connsiteX4" fmla="*/ 5128011 w 5128011"/>
                <a:gd name="connsiteY4" fmla="*/ 2201663 h 5557422"/>
                <a:gd name="connsiteX0" fmla="*/ 5128011 w 5128011"/>
                <a:gd name="connsiteY0" fmla="*/ 2201663 h 4065973"/>
                <a:gd name="connsiteX1" fmla="*/ 0 w 5128011"/>
                <a:gd name="connsiteY1" fmla="*/ 0 h 4065973"/>
                <a:gd name="connsiteX2" fmla="*/ 667754 w 5128011"/>
                <a:gd name="connsiteY2" fmla="*/ 4065973 h 4065973"/>
                <a:gd name="connsiteX3" fmla="*/ 5128011 w 5128011"/>
                <a:gd name="connsiteY3" fmla="*/ 2201663 h 4065973"/>
                <a:gd name="connsiteX0" fmla="*/ 5128011 w 5128011"/>
                <a:gd name="connsiteY0" fmla="*/ 2201663 h 4092606"/>
                <a:gd name="connsiteX1" fmla="*/ 0 w 5128011"/>
                <a:gd name="connsiteY1" fmla="*/ 0 h 4092606"/>
                <a:gd name="connsiteX2" fmla="*/ 667754 w 5128011"/>
                <a:gd name="connsiteY2" fmla="*/ 4092606 h 4092606"/>
                <a:gd name="connsiteX3" fmla="*/ 5128011 w 5128011"/>
                <a:gd name="connsiteY3" fmla="*/ 2201663 h 4092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28011" h="4092606">
                  <a:moveTo>
                    <a:pt x="5128011" y="2201663"/>
                  </a:moveTo>
                  <a:lnTo>
                    <a:pt x="0" y="0"/>
                  </a:lnTo>
                  <a:lnTo>
                    <a:pt x="667754" y="4092606"/>
                  </a:lnTo>
                  <a:lnTo>
                    <a:pt x="5128011" y="220166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b="0" i="0" spc="30" baseline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  <p:sp>
          <p:nvSpPr>
            <p:cNvPr id="14" name="Freeform 13"/>
            <p:cNvSpPr/>
            <p:nvPr userDrawn="1"/>
          </p:nvSpPr>
          <p:spPr>
            <a:xfrm>
              <a:off x="914400" y="3533313"/>
              <a:ext cx="8211845" cy="3355759"/>
            </a:xfrm>
            <a:custGeom>
              <a:avLst/>
              <a:gdLst>
                <a:gd name="connsiteX0" fmla="*/ 7918882 w 7918882"/>
                <a:gd name="connsiteY0" fmla="*/ 0 h 3355759"/>
                <a:gd name="connsiteX1" fmla="*/ 7918882 w 7918882"/>
                <a:gd name="connsiteY1" fmla="*/ 3355759 h 3355759"/>
                <a:gd name="connsiteX2" fmla="*/ 0 w 7918882"/>
                <a:gd name="connsiteY2" fmla="*/ 3355759 h 3355759"/>
                <a:gd name="connsiteX3" fmla="*/ 7918882 w 7918882"/>
                <a:gd name="connsiteY3" fmla="*/ 0 h 3355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8882" h="3355759">
                  <a:moveTo>
                    <a:pt x="7918882" y="0"/>
                  </a:moveTo>
                  <a:lnTo>
                    <a:pt x="7918882" y="3355759"/>
                  </a:lnTo>
                  <a:lnTo>
                    <a:pt x="0" y="3355759"/>
                  </a:lnTo>
                  <a:lnTo>
                    <a:pt x="7918882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en-US" sz="1600" b="0" i="0" spc="30" baseline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7583055" y="6156587"/>
            <a:ext cx="4172237" cy="2708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"/>
              <a:t>©2019 Guidehouse All rights reserved. This content is for general information purposes only, and should not be used as a substitute for consultation with professional advisors.</a:t>
            </a:r>
            <a:endParaRPr lang="en-US" sz="800" b="0" i="0" spc="30" baseline="0"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9600" y="712784"/>
            <a:ext cx="5220069" cy="1042416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000" baseline="0"/>
            </a:lvl1pPr>
          </a:lstStyle>
          <a:p>
            <a:endParaRPr lang="en-US"/>
          </a:p>
        </p:txBody>
      </p:sp>
      <p:pic>
        <p:nvPicPr>
          <p:cNvPr id="9" name="Picture 8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6046854"/>
            <a:ext cx="1508760" cy="380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92394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ignoff / Contac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2" y="1568450"/>
            <a:ext cx="7583054" cy="5289550"/>
            <a:chOff x="0" y="988"/>
            <a:chExt cx="5464" cy="3332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988"/>
              <a:ext cx="5464" cy="3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" name="Freeform 5"/>
            <p:cNvSpPr>
              <a:spLocks/>
            </p:cNvSpPr>
            <p:nvPr userDrawn="1"/>
          </p:nvSpPr>
          <p:spPr bwMode="auto">
            <a:xfrm>
              <a:off x="-5" y="983"/>
              <a:ext cx="1718" cy="2401"/>
            </a:xfrm>
            <a:custGeom>
              <a:avLst/>
              <a:gdLst>
                <a:gd name="T0" fmla="*/ 0 w 1718"/>
                <a:gd name="T1" fmla="*/ 2401 h 2401"/>
                <a:gd name="T2" fmla="*/ 1718 w 1718"/>
                <a:gd name="T3" fmla="*/ 1188 h 2401"/>
                <a:gd name="T4" fmla="*/ 10 w 1718"/>
                <a:gd name="T5" fmla="*/ 0 h 2401"/>
                <a:gd name="T6" fmla="*/ 0 w 1718"/>
                <a:gd name="T7" fmla="*/ 5 h 2401"/>
                <a:gd name="T8" fmla="*/ 0 w 1718"/>
                <a:gd name="T9" fmla="*/ 2401 h 2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18" h="2401">
                  <a:moveTo>
                    <a:pt x="0" y="2401"/>
                  </a:moveTo>
                  <a:lnTo>
                    <a:pt x="1718" y="1188"/>
                  </a:lnTo>
                  <a:lnTo>
                    <a:pt x="10" y="0"/>
                  </a:lnTo>
                  <a:lnTo>
                    <a:pt x="0" y="5"/>
                  </a:lnTo>
                  <a:lnTo>
                    <a:pt x="0" y="240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-5" y="1266"/>
              <a:ext cx="5464" cy="3054"/>
            </a:xfrm>
            <a:custGeom>
              <a:avLst/>
              <a:gdLst>
                <a:gd name="T0" fmla="*/ 3581 w 5464"/>
                <a:gd name="T1" fmla="*/ 3054 h 3054"/>
                <a:gd name="T2" fmla="*/ 5464 w 5464"/>
                <a:gd name="T3" fmla="*/ 1722 h 3054"/>
                <a:gd name="T4" fmla="*/ 3001 w 5464"/>
                <a:gd name="T5" fmla="*/ 0 h 3054"/>
                <a:gd name="T6" fmla="*/ 1718 w 5464"/>
                <a:gd name="T7" fmla="*/ 905 h 3054"/>
                <a:gd name="T8" fmla="*/ 0 w 5464"/>
                <a:gd name="T9" fmla="*/ 2118 h 3054"/>
                <a:gd name="T10" fmla="*/ 0 w 5464"/>
                <a:gd name="T11" fmla="*/ 3054 h 3054"/>
                <a:gd name="T12" fmla="*/ 3581 w 5464"/>
                <a:gd name="T13" fmla="*/ 3054 h 3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64" h="3054">
                  <a:moveTo>
                    <a:pt x="3581" y="3054"/>
                  </a:moveTo>
                  <a:lnTo>
                    <a:pt x="5464" y="1722"/>
                  </a:lnTo>
                  <a:lnTo>
                    <a:pt x="3001" y="0"/>
                  </a:lnTo>
                  <a:lnTo>
                    <a:pt x="1718" y="905"/>
                  </a:lnTo>
                  <a:lnTo>
                    <a:pt x="0" y="2118"/>
                  </a:lnTo>
                  <a:lnTo>
                    <a:pt x="0" y="3054"/>
                  </a:lnTo>
                  <a:lnTo>
                    <a:pt x="3581" y="3054"/>
                  </a:lnTo>
                  <a:close/>
                </a:path>
              </a:pathLst>
            </a:custGeom>
            <a:solidFill>
              <a:srgbClr val="8ACD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8188" y="712784"/>
            <a:ext cx="5220069" cy="1042416"/>
          </a:xfrm>
        </p:spPr>
        <p:txBody>
          <a:bodyPr anchor="ctr" anchorCtr="0">
            <a:noAutofit/>
          </a:bodyPr>
          <a:lstStyle>
            <a:lvl1pPr>
              <a:lnSpc>
                <a:spcPct val="85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609602" y="6156587"/>
            <a:ext cx="4294908" cy="2708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"/>
              <a:t>©2019 Guidehouse. All rights reserved. This content is for general information purposes only, and should not be used as a substitute for consultation with professional advisors.</a:t>
            </a:r>
            <a:endParaRPr lang="en-US" sz="800" b="0" i="0" spc="30" baseline="0">
              <a:ea typeface="Neue Haas Grotesk Display Std 55 Roman" charset="0"/>
              <a:cs typeface="Neue Haas Grotesk Display Std 55 Roman" charset="0"/>
            </a:endParaRPr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1" y="5599514"/>
            <a:ext cx="1508760" cy="3815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 flipH="1">
            <a:off x="1461861" y="712784"/>
            <a:ext cx="60959" cy="10424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478938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Layou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0686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97181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538566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74911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D8868-8B8A-496E-A69D-29680C1CF0AD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6A69F-A103-4DC3-9FD2-40B9B5F0ED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0362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AB89296-ED04-48CA-A27C-AD5B20D904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9212" y="-100361"/>
            <a:ext cx="12290424" cy="7221220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8356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0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4">
            <a:extLst>
              <a:ext uri="{FF2B5EF4-FFF2-40B4-BE49-F238E27FC236}">
                <a16:creationId xmlns:a16="http://schemas.microsoft.com/office/drawing/2014/main" id="{DA834662-CFCC-4371-8B53-114D02F4603A}"/>
              </a:ext>
            </a:extLst>
          </p:cNvPr>
          <p:cNvSpPr/>
          <p:nvPr userDrawn="1"/>
        </p:nvSpPr>
        <p:spPr bwMode="ltGray">
          <a:xfrm>
            <a:off x="583926" y="434695"/>
            <a:ext cx="4568366" cy="4568366"/>
          </a:xfrm>
          <a:custGeom>
            <a:avLst/>
            <a:gdLst/>
            <a:ahLst/>
            <a:cxnLst/>
            <a:rect l="l" t="t" r="r" b="b"/>
            <a:pathLst>
              <a:path w="4582795" h="4581525">
                <a:moveTo>
                  <a:pt x="0" y="0"/>
                </a:moveTo>
                <a:lnTo>
                  <a:pt x="4582668" y="0"/>
                </a:lnTo>
                <a:lnTo>
                  <a:pt x="4582668" y="4581144"/>
                </a:lnTo>
                <a:lnTo>
                  <a:pt x="0" y="4581144"/>
                </a:lnTo>
                <a:lnTo>
                  <a:pt x="0" y="0"/>
                </a:lnTo>
                <a:close/>
              </a:path>
            </a:pathLst>
          </a:custGeom>
          <a:solidFill>
            <a:srgbClr val="E6172B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7">
            <a:extLst>
              <a:ext uri="{FF2B5EF4-FFF2-40B4-BE49-F238E27FC236}">
                <a16:creationId xmlns:a16="http://schemas.microsoft.com/office/drawing/2014/main" id="{6A370FA4-433A-4A7B-B878-AC5074B08722}"/>
              </a:ext>
            </a:extLst>
          </p:cNvPr>
          <p:cNvSpPr/>
          <p:nvPr userDrawn="1"/>
        </p:nvSpPr>
        <p:spPr bwMode="ltGray">
          <a:xfrm>
            <a:off x="1046186" y="1058010"/>
            <a:ext cx="843280" cy="81280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ltGray">
          <a:xfrm>
            <a:off x="1045045" y="4510168"/>
            <a:ext cx="3872043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ltGray">
          <a:xfrm>
            <a:off x="1046186" y="3686438"/>
            <a:ext cx="3872043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 bwMode="ltGray">
          <a:xfrm>
            <a:off x="1046186" y="1364661"/>
            <a:ext cx="3872043" cy="110799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3600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6087E402-5FA1-4D8C-AAF6-6E54C549E6C3}"/>
              </a:ext>
            </a:extLst>
          </p:cNvPr>
          <p:cNvSpPr/>
          <p:nvPr userDrawn="1"/>
        </p:nvSpPr>
        <p:spPr bwMode="ltGray">
          <a:xfrm>
            <a:off x="10264140" y="5826252"/>
            <a:ext cx="1423186" cy="784859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47422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216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5" y="971818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b="0" baseline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538566"/>
            <a:ext cx="11082528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84755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lin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3038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9" name="Sticker" hidden="1">
            <a:extLst>
              <a:ext uri="{FF2B5EF4-FFF2-40B4-BE49-F238E27FC236}">
                <a16:creationId xmlns:a16="http://schemas.microsoft.com/office/drawing/2014/main" id="{64F3132B-1605-45D5-B06F-B703D774997D}"/>
              </a:ext>
            </a:extLst>
          </p:cNvPr>
          <p:cNvSpPr txBox="1"/>
          <p:nvPr userDrawn="1"/>
        </p:nvSpPr>
        <p:spPr bwMode="gray">
          <a:xfrm>
            <a:off x="558489" y="1639544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gray">
          <a:xfrm>
            <a:off x="554736" y="1350665"/>
            <a:ext cx="110825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gray"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 bwMode="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 userDrawn="1">
            <p:ph type="title" hasCustomPrompt="1"/>
            <p:custDataLst>
              <p:tags r:id="rId8"/>
            </p:custDataLst>
          </p:nvPr>
        </p:nvSpPr>
        <p:spPr bwMode="gray">
          <a:xfrm>
            <a:off x="554736" y="538566"/>
            <a:ext cx="1108252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40365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2198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408557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140883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470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rIns="365760" anchor="ctr">
            <a:sp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024383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5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2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77395222-AE49-451F-92AC-B36CC1E3A23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EF76B77-1CEF-4FF1-A5AE-4558FDF6B82D}"/>
              </a:ext>
            </a:extLst>
          </p:cNvPr>
          <p:cNvSpPr/>
          <p:nvPr userDrawn="1"/>
        </p:nvSpPr>
        <p:spPr bwMode="ltGray">
          <a:xfrm>
            <a:off x="11572372" y="0"/>
            <a:ext cx="290554" cy="466725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ltGray">
          <a:xfrm>
            <a:off x="554735" y="1158829"/>
            <a:ext cx="6170156" cy="1354217"/>
          </a:xfrm>
        </p:spPr>
        <p:txBody>
          <a:bodyPr vert="horz" anchor="t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 bwMode="lt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object 7">
            <a:extLst>
              <a:ext uri="{FF2B5EF4-FFF2-40B4-BE49-F238E27FC236}">
                <a16:creationId xmlns:a16="http://schemas.microsoft.com/office/drawing/2014/main" id="{3E5AD818-8E90-4B1B-AEF4-0874FD7BE51C}"/>
              </a:ext>
            </a:extLst>
          </p:cNvPr>
          <p:cNvSpPr/>
          <p:nvPr userDrawn="1"/>
        </p:nvSpPr>
        <p:spPr bwMode="ltGray">
          <a:xfrm>
            <a:off x="554735" y="1023285"/>
            <a:ext cx="843280" cy="81280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842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7155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1BD3DF74-9220-4D58-8FD3-3034963D01B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B07C8C8-A5E2-4174-89EB-D060774A8D29}"/>
              </a:ext>
            </a:extLst>
          </p:cNvPr>
          <p:cNvSpPr/>
          <p:nvPr userDrawn="1"/>
        </p:nvSpPr>
        <p:spPr bwMode="ltGray">
          <a:xfrm>
            <a:off x="11572372" y="0"/>
            <a:ext cx="290554" cy="466725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lt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object 4">
            <a:extLst>
              <a:ext uri="{FF2B5EF4-FFF2-40B4-BE49-F238E27FC236}">
                <a16:creationId xmlns:a16="http://schemas.microsoft.com/office/drawing/2014/main" id="{5BC1C6AA-4C33-441F-96ED-140F9761959B}"/>
              </a:ext>
            </a:extLst>
          </p:cNvPr>
          <p:cNvSpPr/>
          <p:nvPr userDrawn="1"/>
        </p:nvSpPr>
        <p:spPr bwMode="ltGray">
          <a:xfrm>
            <a:off x="311991" y="666190"/>
            <a:ext cx="5776289" cy="2111654"/>
          </a:xfrm>
          <a:custGeom>
            <a:avLst/>
            <a:gdLst/>
            <a:ahLst/>
            <a:cxnLst/>
            <a:rect l="l" t="t" r="r" b="b"/>
            <a:pathLst>
              <a:path w="4582795" h="4581525">
                <a:moveTo>
                  <a:pt x="0" y="0"/>
                </a:moveTo>
                <a:lnTo>
                  <a:pt x="4582668" y="0"/>
                </a:lnTo>
                <a:lnTo>
                  <a:pt x="4582668" y="4581144"/>
                </a:lnTo>
                <a:lnTo>
                  <a:pt x="0" y="458114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B9FDA431-CBF7-4454-92C5-144F0D6B776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 bwMode="ltGray">
          <a:xfrm>
            <a:off x="554735" y="1158829"/>
            <a:ext cx="5221032" cy="1354217"/>
          </a:xfrm>
        </p:spPr>
        <p:txBody>
          <a:bodyPr vert="horz" wrap="square" anchor="t">
            <a:spAutoFit/>
          </a:bodyPr>
          <a:lstStyle>
            <a:lvl1pPr rtl="0">
              <a:lnSpc>
                <a:spcPct val="10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object 7">
            <a:extLst>
              <a:ext uri="{FF2B5EF4-FFF2-40B4-BE49-F238E27FC236}">
                <a16:creationId xmlns:a16="http://schemas.microsoft.com/office/drawing/2014/main" id="{857A5A87-7ED3-41FE-8FE0-6210CFA2130C}"/>
              </a:ext>
            </a:extLst>
          </p:cNvPr>
          <p:cNvSpPr/>
          <p:nvPr userDrawn="1"/>
        </p:nvSpPr>
        <p:spPr bwMode="ltGray">
          <a:xfrm>
            <a:off x="554735" y="1023285"/>
            <a:ext cx="843280" cy="81280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40975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9389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FF007CA2-A023-4FB4-9C5C-DD030FDBF5A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object 4">
            <a:extLst>
              <a:ext uri="{FF2B5EF4-FFF2-40B4-BE49-F238E27FC236}">
                <a16:creationId xmlns:a16="http://schemas.microsoft.com/office/drawing/2014/main" id="{0C10F50A-ED52-4DA7-99E9-CFD371639E80}"/>
              </a:ext>
            </a:extLst>
          </p:cNvPr>
          <p:cNvSpPr/>
          <p:nvPr userDrawn="1"/>
        </p:nvSpPr>
        <p:spPr bwMode="ltGray">
          <a:xfrm>
            <a:off x="311991" y="666190"/>
            <a:ext cx="5776289" cy="2111654"/>
          </a:xfrm>
          <a:custGeom>
            <a:avLst/>
            <a:gdLst/>
            <a:ahLst/>
            <a:cxnLst/>
            <a:rect l="l" t="t" r="r" b="b"/>
            <a:pathLst>
              <a:path w="4582795" h="4581525">
                <a:moveTo>
                  <a:pt x="0" y="0"/>
                </a:moveTo>
                <a:lnTo>
                  <a:pt x="4582668" y="0"/>
                </a:lnTo>
                <a:lnTo>
                  <a:pt x="4582668" y="4581144"/>
                </a:lnTo>
                <a:lnTo>
                  <a:pt x="0" y="4581144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07C8C8-A5E2-4174-89EB-D060774A8D29}"/>
              </a:ext>
            </a:extLst>
          </p:cNvPr>
          <p:cNvSpPr/>
          <p:nvPr userDrawn="1"/>
        </p:nvSpPr>
        <p:spPr>
          <a:xfrm>
            <a:off x="11572372" y="0"/>
            <a:ext cx="290554" cy="466725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ltGray">
          <a:xfrm>
            <a:off x="554735" y="1158829"/>
            <a:ext cx="5221032" cy="1354217"/>
          </a:xfrm>
        </p:spPr>
        <p:txBody>
          <a:bodyPr vert="horz" wrap="square" anchor="t">
            <a:spAutoFit/>
          </a:bodyPr>
          <a:lstStyle>
            <a:lvl1pPr rtl="0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 bwMode="lt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F0B39E03-FA67-4AE9-8991-D61244D1ECB2}"/>
              </a:ext>
            </a:extLst>
          </p:cNvPr>
          <p:cNvSpPr/>
          <p:nvPr userDrawn="1"/>
        </p:nvSpPr>
        <p:spPr bwMode="ltGray">
          <a:xfrm>
            <a:off x="554735" y="1023285"/>
            <a:ext cx="843280" cy="81280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542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4586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608988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01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9E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D1E8CEA-59CA-420E-955C-4C9FBA24773C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C694D69-467D-43BC-9954-4D4527F53C98}"/>
              </a:ext>
            </a:extLst>
          </p:cNvPr>
          <p:cNvSpPr/>
          <p:nvPr userDrawn="1"/>
        </p:nvSpPr>
        <p:spPr>
          <a:xfrm>
            <a:off x="11572372" y="0"/>
            <a:ext cx="290554" cy="466725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4" name="Sticker">
            <a:extLst>
              <a:ext uri="{FF2B5EF4-FFF2-40B4-BE49-F238E27FC236}">
                <a16:creationId xmlns:a16="http://schemas.microsoft.com/office/drawing/2014/main" id="{180491B1-8B1C-432F-88A9-84E632CAB9C3}"/>
              </a:ext>
            </a:extLst>
          </p:cNvPr>
          <p:cNvSpPr txBox="1"/>
          <p:nvPr userDrawn="1"/>
        </p:nvSpPr>
        <p:spPr>
          <a:xfrm>
            <a:off x="9915395" y="89536"/>
            <a:ext cx="65" cy="3231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BB0BA01C-F2E1-4707-A6EB-B4BBFCE9A84A}"/>
              </a:ext>
            </a:extLst>
          </p:cNvPr>
          <p:cNvSpPr/>
          <p:nvPr userDrawn="1"/>
        </p:nvSpPr>
        <p:spPr bwMode="ltGray">
          <a:xfrm>
            <a:off x="554735" y="489036"/>
            <a:ext cx="710185" cy="58755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4342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7368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4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9E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064DA18-FA54-43C0-B981-F306F40179F4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2744369"/>
            <a:ext cx="3465574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4B2075-4ABD-4819-AC32-C4E622A87439}"/>
              </a:ext>
            </a:extLst>
          </p:cNvPr>
          <p:cNvSpPr/>
          <p:nvPr userDrawn="1"/>
        </p:nvSpPr>
        <p:spPr>
          <a:xfrm>
            <a:off x="11572372" y="0"/>
            <a:ext cx="290554" cy="466725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4" name="Sticker">
            <a:extLst>
              <a:ext uri="{FF2B5EF4-FFF2-40B4-BE49-F238E27FC236}">
                <a16:creationId xmlns:a16="http://schemas.microsoft.com/office/drawing/2014/main" id="{3FF73E1E-0E5D-4876-97DF-F2A81FC72FA3}"/>
              </a:ext>
            </a:extLst>
          </p:cNvPr>
          <p:cNvSpPr txBox="1"/>
          <p:nvPr userDrawn="1"/>
        </p:nvSpPr>
        <p:spPr>
          <a:xfrm>
            <a:off x="9915395" y="89536"/>
            <a:ext cx="65" cy="3231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A98AF4C9-0294-4DFB-916C-C63EF696933C}"/>
              </a:ext>
            </a:extLst>
          </p:cNvPr>
          <p:cNvSpPr/>
          <p:nvPr userDrawn="1"/>
        </p:nvSpPr>
        <p:spPr bwMode="ltGray">
          <a:xfrm>
            <a:off x="554735" y="489036"/>
            <a:ext cx="710185" cy="58755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74890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251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9E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38566"/>
            <a:ext cx="5065776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971818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616E2F-392A-4673-928C-B81D3458DA79}"/>
              </a:ext>
            </a:extLst>
          </p:cNvPr>
          <p:cNvSpPr/>
          <p:nvPr userDrawn="1"/>
        </p:nvSpPr>
        <p:spPr>
          <a:xfrm>
            <a:off x="11572372" y="0"/>
            <a:ext cx="290554" cy="466725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4" name="Sticker">
            <a:extLst>
              <a:ext uri="{FF2B5EF4-FFF2-40B4-BE49-F238E27FC236}">
                <a16:creationId xmlns:a16="http://schemas.microsoft.com/office/drawing/2014/main" id="{54343BFD-7D77-4181-A17F-FD5C091E42BB}"/>
              </a:ext>
            </a:extLst>
          </p:cNvPr>
          <p:cNvSpPr txBox="1"/>
          <p:nvPr userDrawn="1"/>
        </p:nvSpPr>
        <p:spPr>
          <a:xfrm>
            <a:off x="9915395" y="89536"/>
            <a:ext cx="65" cy="3231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2E5CE3A1-80E6-43A3-93A8-E608B70C933A}"/>
              </a:ext>
            </a:extLst>
          </p:cNvPr>
          <p:cNvSpPr/>
          <p:nvPr userDrawn="1"/>
        </p:nvSpPr>
        <p:spPr bwMode="ltGray">
          <a:xfrm>
            <a:off x="554735" y="489036"/>
            <a:ext cx="710185" cy="58755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05934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88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7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38566"/>
            <a:ext cx="69677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9E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971818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93FDE38-D878-450C-BF89-8D2D9C596D54}"/>
              </a:ext>
            </a:extLst>
          </p:cNvPr>
          <p:cNvSpPr/>
          <p:nvPr userDrawn="1"/>
        </p:nvSpPr>
        <p:spPr>
          <a:xfrm>
            <a:off x="11572372" y="0"/>
            <a:ext cx="290554" cy="466725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4" name="Sticker">
            <a:extLst>
              <a:ext uri="{FF2B5EF4-FFF2-40B4-BE49-F238E27FC236}">
                <a16:creationId xmlns:a16="http://schemas.microsoft.com/office/drawing/2014/main" id="{4F4123EC-B2D2-49E7-844A-A0DABF1079F3}"/>
              </a:ext>
            </a:extLst>
          </p:cNvPr>
          <p:cNvSpPr txBox="1"/>
          <p:nvPr userDrawn="1"/>
        </p:nvSpPr>
        <p:spPr>
          <a:xfrm>
            <a:off x="9915395" y="89536"/>
            <a:ext cx="65" cy="3231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60068831-F43F-4DF9-983B-89ACD58B53C6}"/>
              </a:ext>
            </a:extLst>
          </p:cNvPr>
          <p:cNvSpPr/>
          <p:nvPr userDrawn="1"/>
        </p:nvSpPr>
        <p:spPr bwMode="ltGray">
          <a:xfrm>
            <a:off x="554735" y="489036"/>
            <a:ext cx="710185" cy="58755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513691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6393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9E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38566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971818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F4B774D-C0AE-4935-A3FA-61358F7078F3}"/>
              </a:ext>
            </a:extLst>
          </p:cNvPr>
          <p:cNvSpPr/>
          <p:nvPr userDrawn="1"/>
        </p:nvSpPr>
        <p:spPr>
          <a:xfrm>
            <a:off x="11572372" y="0"/>
            <a:ext cx="290554" cy="466725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4" name="Sticker">
            <a:extLst>
              <a:ext uri="{FF2B5EF4-FFF2-40B4-BE49-F238E27FC236}">
                <a16:creationId xmlns:a16="http://schemas.microsoft.com/office/drawing/2014/main" id="{3E53FC69-63B9-4AC9-B212-9BF297D4EFB2}"/>
              </a:ext>
            </a:extLst>
          </p:cNvPr>
          <p:cNvSpPr txBox="1"/>
          <p:nvPr userDrawn="1"/>
        </p:nvSpPr>
        <p:spPr>
          <a:xfrm>
            <a:off x="9915395" y="89536"/>
            <a:ext cx="65" cy="3231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82580D1F-2566-4310-98A8-92C37A4E1BFB}"/>
              </a:ext>
            </a:extLst>
          </p:cNvPr>
          <p:cNvSpPr/>
          <p:nvPr userDrawn="1"/>
        </p:nvSpPr>
        <p:spPr bwMode="ltGray">
          <a:xfrm>
            <a:off x="554735" y="489036"/>
            <a:ext cx="710185" cy="58755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485528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4494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020B2B9D-89A4-45C7-8303-E0A9A3C0BFA7}"/>
              </a:ext>
            </a:extLst>
          </p:cNvPr>
          <p:cNvSpPr/>
          <p:nvPr userDrawn="1"/>
        </p:nvSpPr>
        <p:spPr>
          <a:xfrm>
            <a:off x="181761" y="466725"/>
            <a:ext cx="11828477" cy="6189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4736" y="538566"/>
            <a:ext cx="11082528" cy="1154162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ticker" hidden="1">
            <a:extLst>
              <a:ext uri="{FF2B5EF4-FFF2-40B4-BE49-F238E27FC236}">
                <a16:creationId xmlns:a16="http://schemas.microsoft.com/office/drawing/2014/main" id="{2B5F1846-DB86-4338-8AFA-F2C1B534B900}"/>
              </a:ext>
            </a:extLst>
          </p:cNvPr>
          <p:cNvSpPr txBox="1"/>
          <p:nvPr userDrawn="1"/>
        </p:nvSpPr>
        <p:spPr>
          <a:xfrm>
            <a:off x="558489" y="140180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 b="1" cap="all" baseline="0"/>
              <a:t>STI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97C061-CB16-4BAE-8F44-F6D2B83BA42B}"/>
              </a:ext>
            </a:extLst>
          </p:cNvPr>
          <p:cNvSpPr/>
          <p:nvPr userDrawn="1"/>
        </p:nvSpPr>
        <p:spPr>
          <a:xfrm>
            <a:off x="11572372" y="0"/>
            <a:ext cx="290554" cy="466725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6" name="Sticker">
            <a:extLst>
              <a:ext uri="{FF2B5EF4-FFF2-40B4-BE49-F238E27FC236}">
                <a16:creationId xmlns:a16="http://schemas.microsoft.com/office/drawing/2014/main" id="{6CA4703C-32F5-40B9-8A73-390FB5C923E3}"/>
              </a:ext>
            </a:extLst>
          </p:cNvPr>
          <p:cNvSpPr txBox="1"/>
          <p:nvPr userDrawn="1"/>
        </p:nvSpPr>
        <p:spPr>
          <a:xfrm>
            <a:off x="9915395" y="89536"/>
            <a:ext cx="65" cy="3231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7" name="object 7">
            <a:extLst>
              <a:ext uri="{FF2B5EF4-FFF2-40B4-BE49-F238E27FC236}">
                <a16:creationId xmlns:a16="http://schemas.microsoft.com/office/drawing/2014/main" id="{FC7048FA-7EC6-411F-8457-F530120362DF}"/>
              </a:ext>
            </a:extLst>
          </p:cNvPr>
          <p:cNvSpPr/>
          <p:nvPr userDrawn="1"/>
        </p:nvSpPr>
        <p:spPr bwMode="ltGray">
          <a:xfrm>
            <a:off x="554735" y="489036"/>
            <a:ext cx="710185" cy="58755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3E5B035-AC7D-4BCA-A81A-495216B6DF9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2057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859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69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212671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836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8446B46A-E27B-4B97-94F2-63C7F0D7C38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17D7224-6C28-4555-8FB0-689672660B88}"/>
              </a:ext>
            </a:extLst>
          </p:cNvPr>
          <p:cNvSpPr/>
          <p:nvPr userDrawn="1"/>
        </p:nvSpPr>
        <p:spPr>
          <a:xfrm>
            <a:off x="0" y="1801504"/>
            <a:ext cx="5916304" cy="4360459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A3DE90-87E4-44CD-800B-E5E9873499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0264345" y="5827013"/>
            <a:ext cx="1425164" cy="78333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32365E-52D7-4B5B-9812-FD6A2777A43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0131756" y="0"/>
            <a:ext cx="1225195" cy="1944463"/>
          </a:xfrm>
          <a:prstGeom prst="rect">
            <a:avLst/>
          </a:prstGeom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496534" y="3427735"/>
            <a:ext cx="4565352" cy="110799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rtl="0"/>
            <a:r>
              <a:rPr lang="en-US" sz="7200"/>
              <a:t>Thank you </a:t>
            </a:r>
          </a:p>
        </p:txBody>
      </p:sp>
    </p:spTree>
    <p:extLst>
      <p:ext uri="{BB962C8B-B14F-4D97-AF65-F5344CB8AC3E}">
        <p14:creationId xmlns:p14="http://schemas.microsoft.com/office/powerpoint/2010/main" val="27672838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553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50A01A1-676F-49FF-AEE5-0FBF8339E6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bg2"/>
              </a:gs>
              <a:gs pos="0">
                <a:srgbClr val="DDE9F7"/>
              </a:gs>
            </a:gsLst>
            <a:lin ang="81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F1E7193-E2D5-4639-8327-9A8220FB22C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b="19048"/>
          <a:stretch>
            <a:fillRect/>
          </a:stretch>
        </p:blipFill>
        <p:spPr>
          <a:xfrm rot="5668887">
            <a:off x="1418316" y="4070812"/>
            <a:ext cx="2220335" cy="5269984"/>
          </a:xfrm>
          <a:custGeom>
            <a:avLst/>
            <a:gdLst>
              <a:gd name="connsiteX0" fmla="*/ 2220335 w 2220335"/>
              <a:gd name="connsiteY0" fmla="*/ 1369017 h 5269984"/>
              <a:gd name="connsiteX1" fmla="*/ 2113037 w 2220335"/>
              <a:gd name="connsiteY1" fmla="*/ 0 h 5269984"/>
              <a:gd name="connsiteX2" fmla="*/ 2220335 w 2220335"/>
              <a:gd name="connsiteY2" fmla="*/ 0 h 5269984"/>
              <a:gd name="connsiteX3" fmla="*/ 0 w 2220335"/>
              <a:gd name="connsiteY3" fmla="*/ 5269984 h 5269984"/>
              <a:gd name="connsiteX4" fmla="*/ 0 w 2220335"/>
              <a:gd name="connsiteY4" fmla="*/ 0 h 5269984"/>
              <a:gd name="connsiteX5" fmla="*/ 1058252 w 2220335"/>
              <a:gd name="connsiteY5" fmla="*/ 0 h 5269984"/>
              <a:gd name="connsiteX6" fmla="*/ 1462310 w 2220335"/>
              <a:gd name="connsiteY6" fmla="*/ 5155374 h 5269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0335" h="5269984">
                <a:moveTo>
                  <a:pt x="2220335" y="1369017"/>
                </a:moveTo>
                <a:lnTo>
                  <a:pt x="2113037" y="0"/>
                </a:lnTo>
                <a:lnTo>
                  <a:pt x="2220335" y="0"/>
                </a:lnTo>
                <a:close/>
                <a:moveTo>
                  <a:pt x="0" y="5269984"/>
                </a:moveTo>
                <a:lnTo>
                  <a:pt x="0" y="0"/>
                </a:lnTo>
                <a:lnTo>
                  <a:pt x="1058252" y="0"/>
                </a:lnTo>
                <a:lnTo>
                  <a:pt x="1462310" y="5155374"/>
                </a:lnTo>
                <a:close/>
              </a:path>
            </a:pathLst>
          </a:cu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9716E6D-0F92-47ED-BE4C-565438EA5532}"/>
              </a:ext>
            </a:extLst>
          </p:cNvPr>
          <p:cNvGrpSpPr/>
          <p:nvPr userDrawn="1"/>
        </p:nvGrpSpPr>
        <p:grpSpPr>
          <a:xfrm>
            <a:off x="8693595" y="0"/>
            <a:ext cx="3498405" cy="3011153"/>
            <a:chOff x="4273995" y="-1"/>
            <a:chExt cx="3498405" cy="3011153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0CD2AD2-B3FD-43C9-8E53-DC0B35D316CA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t="6868" r="21386"/>
            <a:stretch/>
          </p:blipFill>
          <p:spPr>
            <a:xfrm>
              <a:off x="4273995" y="-1"/>
              <a:ext cx="3498405" cy="3011153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7FDF6EBA-A0BE-4CAF-96F8-C9D71BEB352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t="40984" r="75791"/>
            <a:stretch/>
          </p:blipFill>
          <p:spPr>
            <a:xfrm>
              <a:off x="6806811" y="-1"/>
              <a:ext cx="965589" cy="629922"/>
            </a:xfrm>
            <a:prstGeom prst="rect">
              <a:avLst/>
            </a:prstGeom>
          </p:spPr>
        </p:pic>
      </p:grpSp>
      <p:sp>
        <p:nvSpPr>
          <p:cNvPr id="9" name="Slide Number">
            <a:extLst>
              <a:ext uri="{FF2B5EF4-FFF2-40B4-BE49-F238E27FC236}">
                <a16:creationId xmlns:a16="http://schemas.microsoft.com/office/drawing/2014/main" id="{513BC7DE-0876-4078-B401-A62195B9F5E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460226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859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0A01A1-676F-49FF-AEE5-0FBF8339E6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chemeClr val="bg2"/>
              </a:gs>
              <a:gs pos="0">
                <a:srgbClr val="DDE9F7"/>
              </a:gs>
            </a:gsLst>
            <a:lin ang="81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F1E7193-E2D5-4639-8327-9A8220FB22C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b="19048"/>
          <a:stretch>
            <a:fillRect/>
          </a:stretch>
        </p:blipFill>
        <p:spPr>
          <a:xfrm rot="5668887">
            <a:off x="1418316" y="4070812"/>
            <a:ext cx="2220335" cy="5269984"/>
          </a:xfrm>
          <a:custGeom>
            <a:avLst/>
            <a:gdLst>
              <a:gd name="connsiteX0" fmla="*/ 2220335 w 2220335"/>
              <a:gd name="connsiteY0" fmla="*/ 1369017 h 5269984"/>
              <a:gd name="connsiteX1" fmla="*/ 2113037 w 2220335"/>
              <a:gd name="connsiteY1" fmla="*/ 0 h 5269984"/>
              <a:gd name="connsiteX2" fmla="*/ 2220335 w 2220335"/>
              <a:gd name="connsiteY2" fmla="*/ 0 h 5269984"/>
              <a:gd name="connsiteX3" fmla="*/ 0 w 2220335"/>
              <a:gd name="connsiteY3" fmla="*/ 5269984 h 5269984"/>
              <a:gd name="connsiteX4" fmla="*/ 0 w 2220335"/>
              <a:gd name="connsiteY4" fmla="*/ 0 h 5269984"/>
              <a:gd name="connsiteX5" fmla="*/ 1058252 w 2220335"/>
              <a:gd name="connsiteY5" fmla="*/ 0 h 5269984"/>
              <a:gd name="connsiteX6" fmla="*/ 1462310 w 2220335"/>
              <a:gd name="connsiteY6" fmla="*/ 5155374 h 5269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0335" h="5269984">
                <a:moveTo>
                  <a:pt x="2220335" y="1369017"/>
                </a:moveTo>
                <a:lnTo>
                  <a:pt x="2113037" y="0"/>
                </a:lnTo>
                <a:lnTo>
                  <a:pt x="2220335" y="0"/>
                </a:lnTo>
                <a:close/>
                <a:moveTo>
                  <a:pt x="0" y="5269984"/>
                </a:moveTo>
                <a:lnTo>
                  <a:pt x="0" y="0"/>
                </a:lnTo>
                <a:lnTo>
                  <a:pt x="1058252" y="0"/>
                </a:lnTo>
                <a:lnTo>
                  <a:pt x="1462310" y="5155374"/>
                </a:lnTo>
                <a:close/>
              </a:path>
            </a:pathLst>
          </a:cu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9716E6D-0F92-47ED-BE4C-565438EA5532}"/>
              </a:ext>
            </a:extLst>
          </p:cNvPr>
          <p:cNvGrpSpPr/>
          <p:nvPr userDrawn="1"/>
        </p:nvGrpSpPr>
        <p:grpSpPr>
          <a:xfrm>
            <a:off x="8693595" y="0"/>
            <a:ext cx="3498405" cy="3011153"/>
            <a:chOff x="4273995" y="-1"/>
            <a:chExt cx="3498405" cy="3011153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0CD2AD2-B3FD-43C9-8E53-DC0B35D316CA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t="6868" r="21386"/>
            <a:stretch/>
          </p:blipFill>
          <p:spPr>
            <a:xfrm>
              <a:off x="4273995" y="-1"/>
              <a:ext cx="3498405" cy="3011153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7FDF6EBA-A0BE-4CAF-96F8-C9D71BEB352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t="40984" r="75791"/>
            <a:stretch/>
          </p:blipFill>
          <p:spPr>
            <a:xfrm>
              <a:off x="6806811" y="-1"/>
              <a:ext cx="965589" cy="629922"/>
            </a:xfrm>
            <a:prstGeom prst="rect">
              <a:avLst/>
            </a:prstGeom>
          </p:spPr>
        </p:pic>
      </p:grpSp>
      <p:sp>
        <p:nvSpPr>
          <p:cNvPr id="13" name="Slide Number">
            <a:extLst>
              <a:ext uri="{FF2B5EF4-FFF2-40B4-BE49-F238E27FC236}">
                <a16:creationId xmlns:a16="http://schemas.microsoft.com/office/drawing/2014/main" id="{36C844E8-49FB-4989-8490-7C92E0266C24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36449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5923411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slideLayout" Target="../slideLayouts/slideLayout59.xml"/><Relationship Id="rId50" Type="http://schemas.openxmlformats.org/officeDocument/2006/relationships/slideLayout" Target="../slideLayouts/slideLayout62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52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60.xml"/><Relationship Id="rId8" Type="http://schemas.openxmlformats.org/officeDocument/2006/relationships/slideLayout" Target="../slideLayouts/slideLayout20.xml"/><Relationship Id="rId51" Type="http://schemas.openxmlformats.org/officeDocument/2006/relationships/slideLayout" Target="../slideLayouts/slideLayout63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6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tags" Target="../tags/tag17.xml"/><Relationship Id="rId39" Type="http://schemas.openxmlformats.org/officeDocument/2006/relationships/tags" Target="../tags/tag30.xml"/><Relationship Id="rId21" Type="http://schemas.openxmlformats.org/officeDocument/2006/relationships/theme" Target="../theme/theme3.xml"/><Relationship Id="rId34" Type="http://schemas.openxmlformats.org/officeDocument/2006/relationships/tags" Target="../tags/tag25.xml"/><Relationship Id="rId42" Type="http://schemas.openxmlformats.org/officeDocument/2006/relationships/tags" Target="../tags/tag33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tags" Target="../tags/tag15.xml"/><Relationship Id="rId32" Type="http://schemas.openxmlformats.org/officeDocument/2006/relationships/tags" Target="../tags/tag23.xml"/><Relationship Id="rId37" Type="http://schemas.openxmlformats.org/officeDocument/2006/relationships/tags" Target="../tags/tag28.xml"/><Relationship Id="rId40" Type="http://schemas.openxmlformats.org/officeDocument/2006/relationships/tags" Target="../tags/tag31.xml"/><Relationship Id="rId45" Type="http://schemas.openxmlformats.org/officeDocument/2006/relationships/image" Target="../media/image7.jpeg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36" Type="http://schemas.openxmlformats.org/officeDocument/2006/relationships/tags" Target="../tags/tag27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tags" Target="../tags/tag22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vmlDrawing" Target="../drawings/vmlDrawing3.vml"/><Relationship Id="rId27" Type="http://schemas.openxmlformats.org/officeDocument/2006/relationships/tags" Target="../tags/tag18.xml"/><Relationship Id="rId30" Type="http://schemas.openxmlformats.org/officeDocument/2006/relationships/tags" Target="../tags/tag21.xml"/><Relationship Id="rId35" Type="http://schemas.openxmlformats.org/officeDocument/2006/relationships/tags" Target="../tags/tag26.xml"/><Relationship Id="rId43" Type="http://schemas.openxmlformats.org/officeDocument/2006/relationships/oleObject" Target="../embeddings/oleObject3.bin"/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tags" Target="../tags/tag16.xml"/><Relationship Id="rId33" Type="http://schemas.openxmlformats.org/officeDocument/2006/relationships/tags" Target="../tags/tag24.xml"/><Relationship Id="rId38" Type="http://schemas.openxmlformats.org/officeDocument/2006/relationships/tags" Target="../tags/tag29.xml"/><Relationship Id="rId20" Type="http://schemas.openxmlformats.org/officeDocument/2006/relationships/slideLayout" Target="../slideLayouts/slideLayout83.xml"/><Relationship Id="rId41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8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2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152448" y="6438904"/>
            <a:ext cx="1213945" cy="1810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ctober 24,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85443" y="6438900"/>
            <a:ext cx="196959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0" i="0" spc="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8261C38C-5C2D-5148-8E2E-6A19B963654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685803"/>
            <a:ext cx="10972800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943100"/>
            <a:ext cx="10972800" cy="43161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33603" y="6438900"/>
            <a:ext cx="4876800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b="0" i="0" spc="0" baseline="0" smtClean="0">
                <a:ea typeface="Arial" charset="0"/>
                <a:cs typeface="Arial" charset="0"/>
              </a:defRPr>
            </a:lvl1pPr>
          </a:lstStyle>
          <a:p>
            <a:pPr marL="114300" indent="-114300">
              <a:buFont typeface="Arial" panose="020B0604020202020204" pitchFamily="34" charset="0"/>
              <a:buChar char="|"/>
            </a:pPr>
            <a:r>
              <a:rPr lang="en-US"/>
              <a:t>Title from Cover goes her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597" y="6315185"/>
            <a:ext cx="1097280" cy="27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386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4" r:id="rId51"/>
  </p:sldLayoutIdLst>
  <p:transition spd="slow">
    <p:push dir="u"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spc="0" baseline="0">
          <a:solidFill>
            <a:schemeClr val="tx1"/>
          </a:solidFill>
          <a:latin typeface="+mj-lt"/>
          <a:ea typeface="Arial Bold" charset="0"/>
          <a:cs typeface="Arial Bold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/>
        <a:buNone/>
        <a:defRPr sz="1600" b="1" i="0" kern="1200" spc="0" baseline="0">
          <a:solidFill>
            <a:schemeClr val="tx1"/>
          </a:solidFill>
          <a:latin typeface="+mn-lt"/>
          <a:ea typeface="Arial Bold" charset="0"/>
          <a:cs typeface="Arial Bold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/>
        <a:buNone/>
        <a:tabLst/>
        <a:defRPr sz="1600" b="0" i="0" kern="1200" spc="0" baseline="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155448" indent="-155448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/>
        <a:buChar char="•"/>
        <a:tabLst/>
        <a:defRPr sz="1600" b="0" i="0" kern="1200" spc="0" baseline="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310896" indent="-155448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-"/>
        <a:tabLst/>
        <a:defRPr sz="1600" b="0" i="0" kern="1200" spc="0" baseline="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466344" indent="-155448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/>
        <a:buChar char="•"/>
        <a:tabLst/>
        <a:defRPr sz="1600" b="0" i="0" kern="1200" spc="0" baseline="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621792" indent="-155448" algn="l" defTabSz="91440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Arial"/>
        <a:buChar char="•"/>
        <a:tabLst/>
        <a:defRPr sz="1400" b="0" i="0" kern="1200" spc="0" baseline="0">
          <a:solidFill>
            <a:schemeClr val="tx1"/>
          </a:solidFill>
          <a:latin typeface="+mn-lt"/>
          <a:ea typeface="Arial" charset="0"/>
          <a:cs typeface="Arial" charset="0"/>
        </a:defRPr>
      </a:lvl6pPr>
      <a:lvl7pPr marL="9525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/>
        <a:buNone/>
        <a:tabLst/>
        <a:defRPr sz="1200" b="0" i="1" kern="1200" spc="0" baseline="0">
          <a:solidFill>
            <a:schemeClr val="tx1"/>
          </a:solidFill>
          <a:latin typeface="+mn-lt"/>
          <a:ea typeface="Arial Italic" charset="0"/>
          <a:cs typeface="Arial Italic" charset="0"/>
        </a:defRPr>
      </a:lvl7pPr>
      <a:lvl8pPr marL="155448" indent="-155448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/>
        <a:buChar char="•"/>
        <a:tabLst/>
        <a:defRPr sz="1200" b="0" i="0" kern="1200" spc="0" baseline="0">
          <a:solidFill>
            <a:schemeClr val="tx1"/>
          </a:solidFill>
          <a:latin typeface="+mn-lt"/>
          <a:ea typeface="Arial" charset="0"/>
          <a:cs typeface="Arial" charset="0"/>
        </a:defRPr>
      </a:lvl8pPr>
      <a:lvl9pPr marL="310896" indent="-155448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/>
        <a:buChar char="•"/>
        <a:defRPr sz="1200" b="0" i="0" kern="1200" spc="0" baseline="0">
          <a:solidFill>
            <a:schemeClr val="tx1"/>
          </a:solidFill>
          <a:latin typeface="+mn-lt"/>
          <a:ea typeface="Arial" charset="0"/>
          <a:cs typeface="Arial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>
          <p15:clr>
            <a:srgbClr val="F26B43"/>
          </p15:clr>
        </p15:guide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4" orient="horz" pos="4056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orient="horz" pos="1224">
          <p15:clr>
            <a:srgbClr val="F26B43"/>
          </p15:clr>
        </p15:guide>
        <p15:guide id="7" pos="3840">
          <p15:clr>
            <a:srgbClr val="F26B43"/>
          </p15:clr>
        </p15:guide>
        <p15:guide id="8" pos="2720">
          <p15:clr>
            <a:srgbClr val="F26B43"/>
          </p15:clr>
        </p15:guide>
        <p15:guide id="9" pos="2624">
          <p15:clr>
            <a:srgbClr val="F26B43"/>
          </p15:clr>
        </p15:guide>
        <p15:guide id="10" pos="115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16949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" name="think-cell Slide" r:id="rId43" imgW="413" imgH="416" progId="TCLayout.ActiveDocument.1">
                  <p:embed/>
                </p:oleObj>
              </mc:Choice>
              <mc:Fallback>
                <p:oleObj name="think-cell Slide" r:id="rId4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3AE24E48-4E63-4E51-A0AA-548DB10B2578}"/>
              </a:ext>
            </a:extLst>
          </p:cNvPr>
          <p:cNvPicPr>
            <a:picLocks noChangeAspect="1"/>
          </p:cNvPicPr>
          <p:nvPr userDrawn="1"/>
        </p:nvPicPr>
        <p:blipFill>
          <a:blip r:embed="rId4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6" name="Rectangle 135">
            <a:extLst>
              <a:ext uri="{FF2B5EF4-FFF2-40B4-BE49-F238E27FC236}">
                <a16:creationId xmlns:a16="http://schemas.microsoft.com/office/drawing/2014/main" id="{91D5EAC8-A2A8-43F3-A75D-AA17D9EBF317}"/>
              </a:ext>
            </a:extLst>
          </p:cNvPr>
          <p:cNvSpPr/>
          <p:nvPr userDrawn="1"/>
        </p:nvSpPr>
        <p:spPr>
          <a:xfrm>
            <a:off x="11572372" y="0"/>
            <a:ext cx="290554" cy="466725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0E2ED9AC-B5D1-4FE3-931D-61227B4976DD}"/>
              </a:ext>
            </a:extLst>
          </p:cNvPr>
          <p:cNvSpPr/>
          <p:nvPr userDrawn="1"/>
        </p:nvSpPr>
        <p:spPr>
          <a:xfrm>
            <a:off x="181761" y="466725"/>
            <a:ext cx="11828477" cy="6189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70" name="Grid" hidden="1">
            <a:extLst>
              <a:ext uri="{FF2B5EF4-FFF2-40B4-BE49-F238E27FC236}">
                <a16:creationId xmlns:a16="http://schemas.microsoft.com/office/drawing/2014/main" id="{3BBFEB30-B5C9-4D5C-9A82-066C6BF363E3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50B3518-D8B6-4062-A4CE-0C1A1A286FE1}"/>
                </a:ext>
              </a:extLst>
            </p:cNvPr>
            <p:cNvSpPr/>
            <p:nvPr userDrawn="1"/>
          </p:nvSpPr>
          <p:spPr bwMode="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EC45F528-EF91-4619-AF16-5D11F63D2FFC}"/>
                </a:ext>
              </a:extLst>
            </p:cNvPr>
            <p:cNvSpPr/>
            <p:nvPr/>
          </p:nvSpPr>
          <p:spPr bwMode="gray">
            <a:xfrm>
              <a:off x="1524" y="0"/>
              <a:ext cx="12188952" cy="6858000"/>
            </a:xfrm>
            <a:custGeom>
              <a:avLst/>
              <a:gdLst>
                <a:gd name="connsiteX0" fmla="*/ 553212 w 12188952"/>
                <a:gd name="connsiteY0" fmla="*/ 1405610 h 6858000"/>
                <a:gd name="connsiteX1" fmla="*/ 553212 w 12188952"/>
                <a:gd name="connsiteY1" fmla="*/ 1709928 h 6858000"/>
                <a:gd name="connsiteX2" fmla="*/ 551868 w 12188952"/>
                <a:gd name="connsiteY2" fmla="*/ 1709928 h 6858000"/>
                <a:gd name="connsiteX3" fmla="*/ 551868 w 12188952"/>
                <a:gd name="connsiteY3" fmla="*/ 6217920 h 6858000"/>
                <a:gd name="connsiteX4" fmla="*/ 553212 w 12188952"/>
                <a:gd name="connsiteY4" fmla="*/ 6217920 h 6858000"/>
                <a:gd name="connsiteX5" fmla="*/ 11635740 w 12188952"/>
                <a:gd name="connsiteY5" fmla="*/ 6217920 h 6858000"/>
                <a:gd name="connsiteX6" fmla="*/ 11636196 w 12188952"/>
                <a:gd name="connsiteY6" fmla="*/ 6217920 h 6858000"/>
                <a:gd name="connsiteX7" fmla="*/ 11636196 w 12188952"/>
                <a:gd name="connsiteY7" fmla="*/ 1709928 h 6858000"/>
                <a:gd name="connsiteX8" fmla="*/ 11635740 w 12188952"/>
                <a:gd name="connsiteY8" fmla="*/ 1709928 h 6858000"/>
                <a:gd name="connsiteX9" fmla="*/ 11635740 w 12188952"/>
                <a:gd name="connsiteY9" fmla="*/ 1405610 h 6858000"/>
                <a:gd name="connsiteX10" fmla="*/ 0 w 12188952"/>
                <a:gd name="connsiteY10" fmla="*/ 0 h 6858000"/>
                <a:gd name="connsiteX11" fmla="*/ 12188952 w 12188952"/>
                <a:gd name="connsiteY11" fmla="*/ 0 h 6858000"/>
                <a:gd name="connsiteX12" fmla="*/ 12188952 w 12188952"/>
                <a:gd name="connsiteY12" fmla="*/ 6858000 h 6858000"/>
                <a:gd name="connsiteX13" fmla="*/ 0 w 12188952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88952" h="6858000">
                  <a:moveTo>
                    <a:pt x="553212" y="1405610"/>
                  </a:moveTo>
                  <a:lnTo>
                    <a:pt x="553212" y="1709928"/>
                  </a:lnTo>
                  <a:lnTo>
                    <a:pt x="551868" y="1709928"/>
                  </a:lnTo>
                  <a:lnTo>
                    <a:pt x="551868" y="6217920"/>
                  </a:lnTo>
                  <a:lnTo>
                    <a:pt x="553212" y="6217920"/>
                  </a:lnTo>
                  <a:lnTo>
                    <a:pt x="11635740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lnTo>
                    <a:pt x="11635740" y="1709928"/>
                  </a:lnTo>
                  <a:lnTo>
                    <a:pt x="11635740" y="1405610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77ABF7BA-0428-4141-8351-03A2727DECBD}"/>
                </a:ext>
              </a:extLst>
            </p:cNvPr>
            <p:cNvCxnSpPr/>
            <p:nvPr/>
          </p:nvCxnSpPr>
          <p:spPr bwMode="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94EB93D9-2FE5-4212-8DB4-7A0327E33766}"/>
                </a:ext>
              </a:extLst>
            </p:cNvPr>
            <p:cNvCxnSpPr/>
            <p:nvPr/>
          </p:nvCxnSpPr>
          <p:spPr bwMode="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C2F34081-E688-4287-A553-264328F1E1E1}"/>
                </a:ext>
              </a:extLst>
            </p:cNvPr>
            <p:cNvCxnSpPr/>
            <p:nvPr/>
          </p:nvCxnSpPr>
          <p:spPr bwMode="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6868CDEE-044B-4D04-A5D3-6A526BE51179}"/>
                </a:ext>
              </a:extLst>
            </p:cNvPr>
            <p:cNvCxnSpPr/>
            <p:nvPr/>
          </p:nvCxnSpPr>
          <p:spPr bwMode="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0100C653-5CFA-4B3C-BD97-47499B419B53}"/>
                </a:ext>
              </a:extLst>
            </p:cNvPr>
            <p:cNvCxnSpPr/>
            <p:nvPr/>
          </p:nvCxnSpPr>
          <p:spPr bwMode="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F21F5AB2-1154-4ACD-832F-CB2539EE783F}"/>
                </a:ext>
              </a:extLst>
            </p:cNvPr>
            <p:cNvCxnSpPr/>
            <p:nvPr/>
          </p:nvCxnSpPr>
          <p:spPr bwMode="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466910D2-AFA9-4FD1-8D04-D99BB3645452}"/>
                </a:ext>
              </a:extLst>
            </p:cNvPr>
            <p:cNvCxnSpPr/>
            <p:nvPr/>
          </p:nvCxnSpPr>
          <p:spPr bwMode="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1769A11B-0399-4716-A212-6F179313A427}"/>
                </a:ext>
              </a:extLst>
            </p:cNvPr>
            <p:cNvCxnSpPr/>
            <p:nvPr/>
          </p:nvCxnSpPr>
          <p:spPr bwMode="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9" name="Straight Connector 198">
              <a:extLst>
                <a:ext uri="{FF2B5EF4-FFF2-40B4-BE49-F238E27FC236}">
                  <a16:creationId xmlns:a16="http://schemas.microsoft.com/office/drawing/2014/main" id="{2CB3272D-021B-49B8-92A5-D1DEB3202AE0}"/>
                </a:ext>
              </a:extLst>
            </p:cNvPr>
            <p:cNvCxnSpPr/>
            <p:nvPr/>
          </p:nvCxnSpPr>
          <p:spPr bwMode="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61701AE9-04C5-4AD4-8DEE-873680FD231F}"/>
                </a:ext>
              </a:extLst>
            </p:cNvPr>
            <p:cNvCxnSpPr/>
            <p:nvPr/>
          </p:nvCxnSpPr>
          <p:spPr bwMode="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050D91B-89C3-45DE-BE0C-1430E2BE6F4B}"/>
                </a:ext>
              </a:extLst>
            </p:cNvPr>
            <p:cNvCxnSpPr/>
            <p:nvPr/>
          </p:nvCxnSpPr>
          <p:spPr bwMode="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68E5EF5D-0D94-4FCE-8BE2-F0790F7B1879}"/>
                </a:ext>
              </a:extLst>
            </p:cNvPr>
            <p:cNvCxnSpPr/>
            <p:nvPr/>
          </p:nvCxnSpPr>
          <p:spPr bwMode="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205F8351-710E-49E9-A523-EA0755B417C5}"/>
                </a:ext>
              </a:extLst>
            </p:cNvPr>
            <p:cNvSpPr/>
            <p:nvPr/>
          </p:nvSpPr>
          <p:spPr bwMode="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4" name="Freeform: Shape 203">
              <a:extLst>
                <a:ext uri="{FF2B5EF4-FFF2-40B4-BE49-F238E27FC236}">
                  <a16:creationId xmlns:a16="http://schemas.microsoft.com/office/drawing/2014/main" id="{47C1C31B-A122-4A09-9500-27B0684B272F}"/>
                </a:ext>
              </a:extLst>
            </p:cNvPr>
            <p:cNvSpPr/>
            <p:nvPr/>
          </p:nvSpPr>
          <p:spPr bwMode="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5" name="Freeform: Shape 204">
              <a:extLst>
                <a:ext uri="{FF2B5EF4-FFF2-40B4-BE49-F238E27FC236}">
                  <a16:creationId xmlns:a16="http://schemas.microsoft.com/office/drawing/2014/main" id="{7DF86859-7D4B-4DA1-91AA-0992644F5903}"/>
                </a:ext>
              </a:extLst>
            </p:cNvPr>
            <p:cNvSpPr/>
            <p:nvPr/>
          </p:nvSpPr>
          <p:spPr bwMode="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6" name="Freeform: Shape 205">
              <a:extLst>
                <a:ext uri="{FF2B5EF4-FFF2-40B4-BE49-F238E27FC236}">
                  <a16:creationId xmlns:a16="http://schemas.microsoft.com/office/drawing/2014/main" id="{3DC3E9CA-569C-4414-A75A-C805A4A40B64}"/>
                </a:ext>
              </a:extLst>
            </p:cNvPr>
            <p:cNvSpPr/>
            <p:nvPr/>
          </p:nvSpPr>
          <p:spPr bwMode="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7" name="Freeform: Shape 206">
              <a:extLst>
                <a:ext uri="{FF2B5EF4-FFF2-40B4-BE49-F238E27FC236}">
                  <a16:creationId xmlns:a16="http://schemas.microsoft.com/office/drawing/2014/main" id="{B532C466-D8D3-43AC-995C-2B54885AC096}"/>
                </a:ext>
              </a:extLst>
            </p:cNvPr>
            <p:cNvSpPr/>
            <p:nvPr/>
          </p:nvSpPr>
          <p:spPr bwMode="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B0920AE1-B909-471F-9E77-7C3A31509F84}"/>
                </a:ext>
              </a:extLst>
            </p:cNvPr>
            <p:cNvSpPr/>
            <p:nvPr/>
          </p:nvSpPr>
          <p:spPr bwMode="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2A1E8190-F3C6-4BF7-97E3-90F3FC84746E}"/>
                </a:ext>
              </a:extLst>
            </p:cNvPr>
            <p:cNvSpPr/>
            <p:nvPr/>
          </p:nvSpPr>
          <p:spPr bwMode="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33B1FC28-C9D6-4928-BCCE-9873C7DEEFDE}"/>
                </a:ext>
              </a:extLst>
            </p:cNvPr>
            <p:cNvSpPr/>
            <p:nvPr/>
          </p:nvSpPr>
          <p:spPr bwMode="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13C9C1F2-E745-44A5-AEA3-9DE0D69F2B15}"/>
                </a:ext>
              </a:extLst>
            </p:cNvPr>
            <p:cNvSpPr/>
            <p:nvPr/>
          </p:nvSpPr>
          <p:spPr bwMode="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3F7DB9B8-09EF-46A7-9839-EE0FA8E11651}"/>
                </a:ext>
              </a:extLst>
            </p:cNvPr>
            <p:cNvSpPr/>
            <p:nvPr/>
          </p:nvSpPr>
          <p:spPr bwMode="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59DC929-939A-40DF-96D2-82427AD8E191}"/>
                </a:ext>
              </a:extLst>
            </p:cNvPr>
            <p:cNvSpPr/>
            <p:nvPr/>
          </p:nvSpPr>
          <p:spPr bwMode="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71E475EA-3BCA-4BD2-9129-0A15F92784B0}"/>
                </a:ext>
              </a:extLst>
            </p:cNvPr>
            <p:cNvSpPr/>
            <p:nvPr/>
          </p:nvSpPr>
          <p:spPr bwMode="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B58358D8-4286-4ED9-A0FF-82879D8C9183}"/>
                </a:ext>
              </a:extLst>
            </p:cNvPr>
            <p:cNvSpPr/>
            <p:nvPr/>
          </p:nvSpPr>
          <p:spPr bwMode="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07E8672D-5A21-4EE8-8FA5-FBB35E3AF6F8}"/>
                </a:ext>
              </a:extLst>
            </p:cNvPr>
            <p:cNvSpPr/>
            <p:nvPr/>
          </p:nvSpPr>
          <p:spPr bwMode="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FA059A59-9BBE-4F86-862A-48E139D1EE64}"/>
                </a:ext>
              </a:extLst>
            </p:cNvPr>
            <p:cNvSpPr/>
            <p:nvPr userDrawn="1"/>
          </p:nvSpPr>
          <p:spPr bwMode="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55CF5402-4FC2-4420-ABC5-BBFA3EA9D203}"/>
                </a:ext>
              </a:extLst>
            </p:cNvPr>
            <p:cNvSpPr/>
            <p:nvPr userDrawn="1"/>
          </p:nvSpPr>
          <p:spPr bwMode="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10BB1258-8102-4E47-BE2F-816FBB6BA408}"/>
                </a:ext>
              </a:extLst>
            </p:cNvPr>
            <p:cNvSpPr/>
            <p:nvPr userDrawn="1"/>
          </p:nvSpPr>
          <p:spPr bwMode="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B270BD53-6742-47F1-853C-FA770237F3FD}"/>
                </a:ext>
              </a:extLst>
            </p:cNvPr>
            <p:cNvSpPr/>
            <p:nvPr userDrawn="1"/>
          </p:nvSpPr>
          <p:spPr bwMode="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395B319-4702-4CD9-838C-C0612B6879BC}"/>
                </a:ext>
              </a:extLst>
            </p:cNvPr>
            <p:cNvSpPr/>
            <p:nvPr userDrawn="1"/>
          </p:nvSpPr>
          <p:spPr bwMode="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AE5E70F1-247D-4F01-A473-C5A9226BCADC}"/>
                </a:ext>
              </a:extLst>
            </p:cNvPr>
            <p:cNvSpPr/>
            <p:nvPr userDrawn="1"/>
          </p:nvSpPr>
          <p:spPr bwMode="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732858E4-B133-4A91-9BCA-BF80F093194A}"/>
                </a:ext>
              </a:extLst>
            </p:cNvPr>
            <p:cNvSpPr/>
            <p:nvPr userDrawn="1"/>
          </p:nvSpPr>
          <p:spPr bwMode="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027DED92-EF7A-4687-A1A4-BDAA2F1EAF12}"/>
                </a:ext>
              </a:extLst>
            </p:cNvPr>
            <p:cNvSpPr/>
            <p:nvPr userDrawn="1"/>
          </p:nvSpPr>
          <p:spPr bwMode="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53D72483-35F2-49AC-989D-0E1BC8456803}"/>
                </a:ext>
              </a:extLst>
            </p:cNvPr>
            <p:cNvSpPr/>
            <p:nvPr userDrawn="1"/>
          </p:nvSpPr>
          <p:spPr bwMode="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2DD2F54E-53A3-49F6-905E-B0F8E1348C8E}"/>
                </a:ext>
              </a:extLst>
            </p:cNvPr>
            <p:cNvSpPr/>
            <p:nvPr userDrawn="1"/>
          </p:nvSpPr>
          <p:spPr bwMode="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557A01EE-7FB2-4BA0-B35A-2F95546E4624}"/>
                </a:ext>
              </a:extLst>
            </p:cNvPr>
            <p:cNvCxnSpPr/>
            <p:nvPr userDrawn="1"/>
          </p:nvCxnSpPr>
          <p:spPr bwMode="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7FC1C45B-2B29-4A42-8D4B-721F68CA1348}"/>
                </a:ext>
              </a:extLst>
            </p:cNvPr>
            <p:cNvCxnSpPr/>
            <p:nvPr userDrawn="1"/>
          </p:nvCxnSpPr>
          <p:spPr bwMode="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B1A27E92-9270-4990-A7E0-13762B5DCF31}"/>
                </a:ext>
              </a:extLst>
            </p:cNvPr>
            <p:cNvCxnSpPr/>
            <p:nvPr userDrawn="1"/>
          </p:nvCxnSpPr>
          <p:spPr bwMode="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9F46154D-791B-4F7D-8E1C-E15CD03A29AA}"/>
                </a:ext>
              </a:extLst>
            </p:cNvPr>
            <p:cNvCxnSpPr/>
            <p:nvPr userDrawn="1"/>
          </p:nvCxnSpPr>
          <p:spPr bwMode="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C9B4B757-25C9-484E-A4FE-A49FBA3319A4}"/>
                </a:ext>
              </a:extLst>
            </p:cNvPr>
            <p:cNvCxnSpPr/>
            <p:nvPr userDrawn="1"/>
          </p:nvCxnSpPr>
          <p:spPr bwMode="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75535B4E-91AD-45A5-B3C9-3699892DFD15}"/>
                </a:ext>
              </a:extLst>
            </p:cNvPr>
            <p:cNvCxnSpPr/>
            <p:nvPr userDrawn="1"/>
          </p:nvCxnSpPr>
          <p:spPr bwMode="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BB8DA04A-5D80-45BB-8266-4A4ECB242742}"/>
                </a:ext>
              </a:extLst>
            </p:cNvPr>
            <p:cNvCxnSpPr/>
            <p:nvPr userDrawn="1"/>
          </p:nvCxnSpPr>
          <p:spPr bwMode="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E5E52966-F7BC-421A-9050-FFBE6C9FDFFC}"/>
                </a:ext>
              </a:extLst>
            </p:cNvPr>
            <p:cNvCxnSpPr/>
            <p:nvPr userDrawn="1"/>
          </p:nvCxnSpPr>
          <p:spPr bwMode="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27183FD6-ADDC-4DBA-AD69-7D5A08920C83}"/>
                </a:ext>
              </a:extLst>
            </p:cNvPr>
            <p:cNvCxnSpPr/>
            <p:nvPr userDrawn="1"/>
          </p:nvCxnSpPr>
          <p:spPr bwMode="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3B1C3B52-250A-482D-AE65-9AAC3A76868D}"/>
                </a:ext>
              </a:extLst>
            </p:cNvPr>
            <p:cNvCxnSpPr/>
            <p:nvPr userDrawn="1"/>
          </p:nvCxnSpPr>
          <p:spPr bwMode="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3AB6E369-DE4F-4AA3-9B2B-FD9286DC14EB}"/>
                </a:ext>
              </a:extLst>
            </p:cNvPr>
            <p:cNvCxnSpPr/>
            <p:nvPr userDrawn="1"/>
          </p:nvCxnSpPr>
          <p:spPr bwMode="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02D96B38-98DE-4984-BD84-08887A144206}"/>
                </a:ext>
              </a:extLst>
            </p:cNvPr>
            <p:cNvCxnSpPr/>
            <p:nvPr userDrawn="1"/>
          </p:nvCxnSpPr>
          <p:spPr bwMode="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2A47B8B7-112A-4075-B20A-90A845CE256B}"/>
                </a:ext>
              </a:extLst>
            </p:cNvPr>
            <p:cNvCxnSpPr/>
            <p:nvPr userDrawn="1"/>
          </p:nvCxnSpPr>
          <p:spPr bwMode="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0FEBE3CB-E087-4212-96D5-920E5C903EF2}"/>
                </a:ext>
              </a:extLst>
            </p:cNvPr>
            <p:cNvCxnSpPr/>
            <p:nvPr userDrawn="1"/>
          </p:nvCxnSpPr>
          <p:spPr bwMode="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3686B76C-7301-4C4A-B5BE-0AFF241FAEB0}"/>
                </a:ext>
              </a:extLst>
            </p:cNvPr>
            <p:cNvCxnSpPr/>
            <p:nvPr userDrawn="1"/>
          </p:nvCxnSpPr>
          <p:spPr bwMode="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2B029B6E-808D-40CF-A2D1-AADA131A0D00}"/>
                </a:ext>
              </a:extLst>
            </p:cNvPr>
            <p:cNvCxnSpPr/>
            <p:nvPr userDrawn="1"/>
          </p:nvCxnSpPr>
          <p:spPr bwMode="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8705E053-FBF3-4534-A74B-EC16CC92EE77}"/>
                </a:ext>
              </a:extLst>
            </p:cNvPr>
            <p:cNvCxnSpPr/>
            <p:nvPr userDrawn="1"/>
          </p:nvCxnSpPr>
          <p:spPr bwMode="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BE0E44BE-C4B0-46A9-A59B-A43157B927C1}"/>
                </a:ext>
              </a:extLst>
            </p:cNvPr>
            <p:cNvCxnSpPr/>
            <p:nvPr userDrawn="1"/>
          </p:nvCxnSpPr>
          <p:spPr bwMode="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9B09A95B-D404-461F-A093-7C895E3A741F}"/>
                </a:ext>
              </a:extLst>
            </p:cNvPr>
            <p:cNvCxnSpPr/>
            <p:nvPr userDrawn="1"/>
          </p:nvCxnSpPr>
          <p:spPr bwMode="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A79A7095-2656-44EB-B0A3-4271C7264720}"/>
                </a:ext>
              </a:extLst>
            </p:cNvPr>
            <p:cNvCxnSpPr/>
            <p:nvPr userDrawn="1"/>
          </p:nvCxnSpPr>
          <p:spPr bwMode="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A4BC595-5B69-4C71-A5EC-2940C48186D2}"/>
                </a:ext>
              </a:extLst>
            </p:cNvPr>
            <p:cNvCxnSpPr/>
            <p:nvPr userDrawn="1"/>
          </p:nvCxnSpPr>
          <p:spPr bwMode="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97474A32-631C-4FA8-B250-D9C17610DA92}"/>
                </a:ext>
              </a:extLst>
            </p:cNvPr>
            <p:cNvCxnSpPr/>
            <p:nvPr userDrawn="1"/>
          </p:nvCxnSpPr>
          <p:spPr bwMode="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4FA397D1-2FFD-4719-93E4-17828F08EC1D}"/>
                </a:ext>
              </a:extLst>
            </p:cNvPr>
            <p:cNvCxnSpPr/>
            <p:nvPr userDrawn="1"/>
          </p:nvCxnSpPr>
          <p:spPr bwMode="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12CDBCAF-60C0-40A4-97EA-7B190F17D13D}"/>
                </a:ext>
              </a:extLst>
            </p:cNvPr>
            <p:cNvCxnSpPr/>
            <p:nvPr userDrawn="1"/>
          </p:nvCxnSpPr>
          <p:spPr bwMode="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88614279-F6F1-4779-A908-BEF080C471AB}"/>
                </a:ext>
              </a:extLst>
            </p:cNvPr>
            <p:cNvCxnSpPr/>
            <p:nvPr userDrawn="1"/>
          </p:nvCxnSpPr>
          <p:spPr bwMode="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D77A8DFC-FE4B-4B06-8AEF-607F9AEE764E}"/>
                </a:ext>
              </a:extLst>
            </p:cNvPr>
            <p:cNvCxnSpPr/>
            <p:nvPr userDrawn="1"/>
          </p:nvCxnSpPr>
          <p:spPr bwMode="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42E819A-5DA8-4032-B3EB-D10DC14D6C84}"/>
                </a:ext>
              </a:extLst>
            </p:cNvPr>
            <p:cNvCxnSpPr/>
            <p:nvPr userDrawn="1"/>
          </p:nvCxnSpPr>
          <p:spPr bwMode="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1912236D-CA1F-4315-989A-12010EB46505}"/>
                </a:ext>
              </a:extLst>
            </p:cNvPr>
            <p:cNvCxnSpPr/>
            <p:nvPr userDrawn="1"/>
          </p:nvCxnSpPr>
          <p:spPr bwMode="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44ED2ACF-C68A-42CC-A632-CD03AB2544F3}"/>
                </a:ext>
              </a:extLst>
            </p:cNvPr>
            <p:cNvCxnSpPr/>
            <p:nvPr userDrawn="1"/>
          </p:nvCxnSpPr>
          <p:spPr bwMode="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4A8F039F-D473-4D39-8AC6-81810B219B3E}"/>
                </a:ext>
              </a:extLst>
            </p:cNvPr>
            <p:cNvCxnSpPr/>
            <p:nvPr userDrawn="1"/>
          </p:nvCxnSpPr>
          <p:spPr bwMode="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BA241E12-AAE1-45D8-9D67-A8007269A3E0}"/>
                </a:ext>
              </a:extLst>
            </p:cNvPr>
            <p:cNvCxnSpPr/>
            <p:nvPr userDrawn="1"/>
          </p:nvCxnSpPr>
          <p:spPr bwMode="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B3D829D9-0D54-4FB5-9FD5-512316CE5897}"/>
                </a:ext>
              </a:extLst>
            </p:cNvPr>
            <p:cNvCxnSpPr/>
            <p:nvPr userDrawn="1"/>
          </p:nvCxnSpPr>
          <p:spPr bwMode="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6DCAEE40-53ED-4281-A3F1-ACB0AA93B7BD}"/>
                </a:ext>
              </a:extLst>
            </p:cNvPr>
            <p:cNvCxnSpPr/>
            <p:nvPr userDrawn="1"/>
          </p:nvCxnSpPr>
          <p:spPr bwMode="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716D3477-104A-45EC-ABA6-46CC43BAB1CA}"/>
                </a:ext>
              </a:extLst>
            </p:cNvPr>
            <p:cNvCxnSpPr/>
            <p:nvPr userDrawn="1"/>
          </p:nvCxnSpPr>
          <p:spPr bwMode="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25EC7B04-40CF-4499-BF37-9874AB2E42BC}"/>
                </a:ext>
              </a:extLst>
            </p:cNvPr>
            <p:cNvCxnSpPr/>
            <p:nvPr userDrawn="1"/>
          </p:nvCxnSpPr>
          <p:spPr bwMode="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A1B7D422-DF11-439B-AA7B-5AE071A4C7DC}"/>
                </a:ext>
              </a:extLst>
            </p:cNvPr>
            <p:cNvCxnSpPr/>
            <p:nvPr userDrawn="1"/>
          </p:nvCxnSpPr>
          <p:spPr bwMode="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21103B97-22A5-4A41-A8B4-4FBC1AB3251F}"/>
                </a:ext>
              </a:extLst>
            </p:cNvPr>
            <p:cNvCxnSpPr/>
            <p:nvPr userDrawn="1"/>
          </p:nvCxnSpPr>
          <p:spPr bwMode="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706654E2-EE76-422E-8306-19CDD004E451}"/>
                </a:ext>
              </a:extLst>
            </p:cNvPr>
            <p:cNvCxnSpPr/>
            <p:nvPr userDrawn="1"/>
          </p:nvCxnSpPr>
          <p:spPr bwMode="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A46DB1-E3F1-48B8-8CD6-686C08337E3D}"/>
                </a:ext>
              </a:extLst>
            </p:cNvPr>
            <p:cNvCxnSpPr/>
            <p:nvPr userDrawn="1"/>
          </p:nvCxnSpPr>
          <p:spPr bwMode="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C7EB58E3-EE98-4C63-A5FA-31A1F31261BD}"/>
                </a:ext>
              </a:extLst>
            </p:cNvPr>
            <p:cNvCxnSpPr/>
            <p:nvPr userDrawn="1"/>
          </p:nvCxnSpPr>
          <p:spPr bwMode="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DF83986-66A6-442D-9688-89B353D5848C}"/>
                </a:ext>
              </a:extLst>
            </p:cNvPr>
            <p:cNvCxnSpPr/>
            <p:nvPr userDrawn="1"/>
          </p:nvCxnSpPr>
          <p:spPr bwMode="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AC32EE19-D046-4DA8-83C8-C7090C2032B7}"/>
                </a:ext>
              </a:extLst>
            </p:cNvPr>
            <p:cNvCxnSpPr/>
            <p:nvPr userDrawn="1"/>
          </p:nvCxnSpPr>
          <p:spPr bwMode="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AE9073FA-D009-4B43-AE1C-76B2371EDB72}"/>
                </a:ext>
              </a:extLst>
            </p:cNvPr>
            <p:cNvCxnSpPr/>
            <p:nvPr userDrawn="1"/>
          </p:nvCxnSpPr>
          <p:spPr bwMode="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A37EEEBC-9035-46B4-859D-8637EB5F71E7}"/>
                </a:ext>
              </a:extLst>
            </p:cNvPr>
            <p:cNvCxnSpPr/>
            <p:nvPr userDrawn="1"/>
          </p:nvCxnSpPr>
          <p:spPr bwMode="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1" name="main body box">
              <a:extLst>
                <a:ext uri="{FF2B5EF4-FFF2-40B4-BE49-F238E27FC236}">
                  <a16:creationId xmlns:a16="http://schemas.microsoft.com/office/drawing/2014/main" id="{5A4E68D2-98C2-4107-A058-DD36C69DD1BD}"/>
                </a:ext>
              </a:extLst>
            </p:cNvPr>
            <p:cNvSpPr/>
            <p:nvPr userDrawn="1"/>
          </p:nvSpPr>
          <p:spPr bwMode="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CD320E2E-9A90-4FBD-95ED-547D38976E3C}"/>
                </a:ext>
              </a:extLst>
            </p:cNvPr>
            <p:cNvCxnSpPr/>
            <p:nvPr userDrawn="1"/>
          </p:nvCxnSpPr>
          <p:spPr bwMode="gray">
            <a:xfrm>
              <a:off x="554736" y="2176272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0454B89-8DFA-4EF3-83A9-38CF648F4CD1}"/>
                </a:ext>
              </a:extLst>
            </p:cNvPr>
            <p:cNvCxnSpPr/>
            <p:nvPr userDrawn="1"/>
          </p:nvCxnSpPr>
          <p:spPr bwMode="gray">
            <a:xfrm>
              <a:off x="554736" y="1710309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538566"/>
            <a:ext cx="11082528" cy="3231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8" y="2170800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/>
              <a:t>Above Chart Exhibit Title</a:t>
            </a:r>
          </a:p>
          <a:p>
            <a:pPr lvl="0" rtl="0"/>
            <a:r>
              <a:rPr lang="en-US" sz="1400" b="0" baseline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89088"/>
            <a:ext cx="4455770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C7DCB836-32CF-41A8-8549-9E3DC499E55F}"/>
              </a:ext>
            </a:extLst>
          </p:cNvPr>
          <p:cNvGrpSpPr/>
          <p:nvPr userDrawn="1"/>
        </p:nvGrpSpPr>
        <p:grpSpPr>
          <a:xfrm>
            <a:off x="10317304" y="3355023"/>
            <a:ext cx="1319960" cy="958286"/>
            <a:chOff x="10162879" y="3243772"/>
            <a:chExt cx="1319960" cy="958286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2FE0B932-DECA-4626-B0BB-981F59F6DF7B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id="{2EABE981-2DBB-4542-8B17-6AFCD722BE6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81DFFEC4-AA06-4457-80F2-8F35D6314139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id="{EBFC5332-6764-4D2A-9990-021481D1566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id="{C6BB765D-3AE3-4E6A-AABA-B4670FDDD22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id="{F30518A1-3A92-448D-96E3-F75CABD57D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>
                <a:ea typeface="+mn-ea"/>
              </a:endParaRPr>
            </a:p>
          </p:txBody>
        </p:sp>
      </p:grpSp>
      <p:grpSp>
        <p:nvGrpSpPr>
          <p:cNvPr id="155" name="LegendMoons" hidden="1">
            <a:extLst>
              <a:ext uri="{FF2B5EF4-FFF2-40B4-BE49-F238E27FC236}">
                <a16:creationId xmlns:a16="http://schemas.microsoft.com/office/drawing/2014/main" id="{A0628D37-4980-4243-B324-DCADEBF84168}"/>
              </a:ext>
            </a:extLst>
          </p:cNvPr>
          <p:cNvGrpSpPr/>
          <p:nvPr userDrawn="1"/>
        </p:nvGrpSpPr>
        <p:grpSpPr>
          <a:xfrm>
            <a:off x="10688315" y="1415983"/>
            <a:ext cx="948949" cy="1731859"/>
            <a:chOff x="7723680" y="1702457"/>
            <a:chExt cx="948949" cy="1731859"/>
          </a:xfrm>
        </p:grpSpPr>
        <p:sp>
          <p:nvSpPr>
            <p:cNvPr id="156" name="Legend1" hidden="1">
              <a:extLst>
                <a:ext uri="{FF2B5EF4-FFF2-40B4-BE49-F238E27FC236}">
                  <a16:creationId xmlns:a16="http://schemas.microsoft.com/office/drawing/2014/main" id="{2BC1EF6D-6E41-4BAF-88C5-C74A70356A6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egend2" hidden="1">
              <a:extLst>
                <a:ext uri="{FF2B5EF4-FFF2-40B4-BE49-F238E27FC236}">
                  <a16:creationId xmlns:a16="http://schemas.microsoft.com/office/drawing/2014/main" id="{E75DE672-EBFE-47A2-9BA6-552CEEA3D92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8" name="Legend3" hidden="1">
              <a:extLst>
                <a:ext uri="{FF2B5EF4-FFF2-40B4-BE49-F238E27FC236}">
                  <a16:creationId xmlns:a16="http://schemas.microsoft.com/office/drawing/2014/main" id="{4444DD16-FC2F-41F3-B3C8-B3605F184C7A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9" name="Legend4" hidden="1">
              <a:extLst>
                <a:ext uri="{FF2B5EF4-FFF2-40B4-BE49-F238E27FC236}">
                  <a16:creationId xmlns:a16="http://schemas.microsoft.com/office/drawing/2014/main" id="{9C02DB83-070E-40D0-8BC1-550F5BF3E3E4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5" hidden="1">
              <a:extLst>
                <a:ext uri="{FF2B5EF4-FFF2-40B4-BE49-F238E27FC236}">
                  <a16:creationId xmlns:a16="http://schemas.microsoft.com/office/drawing/2014/main" id="{D1F394C7-C870-4C94-B15F-0485C045993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1" name="MoonLegend1" hidden="1">
              <a:extLst>
                <a:ext uri="{FF2B5EF4-FFF2-40B4-BE49-F238E27FC236}">
                  <a16:creationId xmlns:a16="http://schemas.microsoft.com/office/drawing/2014/main" id="{398B5D81-E7FB-41AC-855E-987B5F78CBF6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4" name="Oval 183" hidden="1">
                <a:extLst>
                  <a:ext uri="{FF2B5EF4-FFF2-40B4-BE49-F238E27FC236}">
                    <a16:creationId xmlns:a16="http://schemas.microsoft.com/office/drawing/2014/main" id="{29537F15-5C90-42B5-AB51-CD1C0BD828EC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5" name="Arc 184" hidden="1">
                <a:extLst>
                  <a:ext uri="{FF2B5EF4-FFF2-40B4-BE49-F238E27FC236}">
                    <a16:creationId xmlns:a16="http://schemas.microsoft.com/office/drawing/2014/main" id="{3E976478-C241-48DA-B15A-272F09FCF1FA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62" name="MoonLegend2" hidden="1">
              <a:extLst>
                <a:ext uri="{FF2B5EF4-FFF2-40B4-BE49-F238E27FC236}">
                  <a16:creationId xmlns:a16="http://schemas.microsoft.com/office/drawing/2014/main" id="{C85E45D7-7421-495D-A34F-3DC4DC77CB68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2" name="Oval 181" hidden="1">
                <a:extLst>
                  <a:ext uri="{FF2B5EF4-FFF2-40B4-BE49-F238E27FC236}">
                    <a16:creationId xmlns:a16="http://schemas.microsoft.com/office/drawing/2014/main" id="{1D21A7B4-CED0-40BD-9E0B-EFEAEA125B8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Arc 182" hidden="1">
                <a:extLst>
                  <a:ext uri="{FF2B5EF4-FFF2-40B4-BE49-F238E27FC236}">
                    <a16:creationId xmlns:a16="http://schemas.microsoft.com/office/drawing/2014/main" id="{DB550AED-578F-47DC-A241-85F6479E3898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63" name="MoonLegend3" hidden="1">
              <a:extLst>
                <a:ext uri="{FF2B5EF4-FFF2-40B4-BE49-F238E27FC236}">
                  <a16:creationId xmlns:a16="http://schemas.microsoft.com/office/drawing/2014/main" id="{C127470E-30A1-49EB-8AA2-D80CC77612B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0" name="Oval 179" hidden="1">
                <a:extLst>
                  <a:ext uri="{FF2B5EF4-FFF2-40B4-BE49-F238E27FC236}">
                    <a16:creationId xmlns:a16="http://schemas.microsoft.com/office/drawing/2014/main" id="{C33994E5-FDC1-4D3C-9D64-46FA4C13E611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Arc 180" hidden="1">
                <a:extLst>
                  <a:ext uri="{FF2B5EF4-FFF2-40B4-BE49-F238E27FC236}">
                    <a16:creationId xmlns:a16="http://schemas.microsoft.com/office/drawing/2014/main" id="{BFDBD911-FF97-4012-A16A-9C649778B927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64" name="MoonLegend4" hidden="1">
              <a:extLst>
                <a:ext uri="{FF2B5EF4-FFF2-40B4-BE49-F238E27FC236}">
                  <a16:creationId xmlns:a16="http://schemas.microsoft.com/office/drawing/2014/main" id="{DBFCA8E8-E958-478C-82D0-F8434ABF0F0B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8" name="Oval 167" hidden="1">
                <a:extLst>
                  <a:ext uri="{FF2B5EF4-FFF2-40B4-BE49-F238E27FC236}">
                    <a16:creationId xmlns:a16="http://schemas.microsoft.com/office/drawing/2014/main" id="{973F84A1-47AF-4424-B81A-D0B9B87503E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79" name="Arc 178" hidden="1">
                <a:extLst>
                  <a:ext uri="{FF2B5EF4-FFF2-40B4-BE49-F238E27FC236}">
                    <a16:creationId xmlns:a16="http://schemas.microsoft.com/office/drawing/2014/main" id="{F26CC5FD-9314-4976-B81C-3CB9ECD0453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  <p:grpSp>
          <p:nvGrpSpPr>
            <p:cNvPr id="165" name="MoonLegend5" hidden="1">
              <a:extLst>
                <a:ext uri="{FF2B5EF4-FFF2-40B4-BE49-F238E27FC236}">
                  <a16:creationId xmlns:a16="http://schemas.microsoft.com/office/drawing/2014/main" id="{5C1ABD46-6A63-4566-A0AC-ED1ACECA1DE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6" name="Oval 165" hidden="1">
                <a:extLst>
                  <a:ext uri="{FF2B5EF4-FFF2-40B4-BE49-F238E27FC236}">
                    <a16:creationId xmlns:a16="http://schemas.microsoft.com/office/drawing/2014/main" id="{8605E049-44A9-466F-9083-6A364114C83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Arc 166" hidden="1">
                <a:extLst>
                  <a:ext uri="{FF2B5EF4-FFF2-40B4-BE49-F238E27FC236}">
                    <a16:creationId xmlns:a16="http://schemas.microsoft.com/office/drawing/2014/main" id="{1B0EA557-F934-4208-B291-7DDEF695E02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/>
              </a:p>
            </p:txBody>
          </p:sp>
        </p:grp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021EB70A-DB08-431D-9D17-BDC75A8CA46C}"/>
              </a:ext>
            </a:extLst>
          </p:cNvPr>
          <p:cNvGrpSpPr/>
          <p:nvPr userDrawn="1"/>
        </p:nvGrpSpPr>
        <p:grpSpPr>
          <a:xfrm>
            <a:off x="10714801" y="4520490"/>
            <a:ext cx="922463" cy="1717282"/>
            <a:chOff x="10652400" y="4322824"/>
            <a:chExt cx="922463" cy="1717282"/>
          </a:xfrm>
        </p:grpSpPr>
        <p:sp>
          <p:nvSpPr>
            <p:cNvPr id="188" name="RectangleLegend1" hidden="1">
              <a:extLst>
                <a:ext uri="{FF2B5EF4-FFF2-40B4-BE49-F238E27FC236}">
                  <a16:creationId xmlns:a16="http://schemas.microsoft.com/office/drawing/2014/main" id="{85CABAF9-4F6D-463E-A360-AC6A6BD08D1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 hidden="1">
              <a:extLst>
                <a:ext uri="{FF2B5EF4-FFF2-40B4-BE49-F238E27FC236}">
                  <a16:creationId xmlns:a16="http://schemas.microsoft.com/office/drawing/2014/main" id="{FDF81B49-A82A-4B1E-B2DB-F7FC19903E41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 hidden="1">
              <a:extLst>
                <a:ext uri="{FF2B5EF4-FFF2-40B4-BE49-F238E27FC236}">
                  <a16:creationId xmlns:a16="http://schemas.microsoft.com/office/drawing/2014/main" id="{93B56DD1-5471-484E-8902-B64D9344E1C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 hidden="1">
              <a:extLst>
                <a:ext uri="{FF2B5EF4-FFF2-40B4-BE49-F238E27FC236}">
                  <a16:creationId xmlns:a16="http://schemas.microsoft.com/office/drawing/2014/main" id="{9897FA9C-9ACB-4745-BC85-83CE51EE3276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 hidden="1">
              <a:extLst>
                <a:ext uri="{FF2B5EF4-FFF2-40B4-BE49-F238E27FC236}">
                  <a16:creationId xmlns:a16="http://schemas.microsoft.com/office/drawing/2014/main" id="{0B981953-9A93-4D56-AB67-EE02DFDBD88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3" name="Legend1" hidden="1">
              <a:extLst>
                <a:ext uri="{FF2B5EF4-FFF2-40B4-BE49-F238E27FC236}">
                  <a16:creationId xmlns:a16="http://schemas.microsoft.com/office/drawing/2014/main" id="{F057028D-CFCC-4CEE-B043-37F013A27E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 hidden="1">
              <a:extLst>
                <a:ext uri="{FF2B5EF4-FFF2-40B4-BE49-F238E27FC236}">
                  <a16:creationId xmlns:a16="http://schemas.microsoft.com/office/drawing/2014/main" id="{3FC17B2C-B9D3-41C5-816D-EF7CE688BD55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 hidden="1">
              <a:extLst>
                <a:ext uri="{FF2B5EF4-FFF2-40B4-BE49-F238E27FC236}">
                  <a16:creationId xmlns:a16="http://schemas.microsoft.com/office/drawing/2014/main" id="{F7EBE247-54F7-4BAD-ABD3-4666ADA3652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 hidden="1">
              <a:extLst>
                <a:ext uri="{FF2B5EF4-FFF2-40B4-BE49-F238E27FC236}">
                  <a16:creationId xmlns:a16="http://schemas.microsoft.com/office/drawing/2014/main" id="{EB1EC36A-5AE6-4A5D-AF4C-0CB40ED16EF8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 hidden="1">
              <a:extLst>
                <a:ext uri="{FF2B5EF4-FFF2-40B4-BE49-F238E27FC236}">
                  <a16:creationId xmlns:a16="http://schemas.microsoft.com/office/drawing/2014/main" id="{9A57A93E-21C3-405B-9DA4-E12D74991C4F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0" name="Sticker" hidden="1">
            <a:extLst>
              <a:ext uri="{FF2B5EF4-FFF2-40B4-BE49-F238E27FC236}">
                <a16:creationId xmlns:a16="http://schemas.microsoft.com/office/drawing/2014/main" id="{3D7CA609-E6B0-481F-B7D5-8D2ED0040100}"/>
              </a:ext>
            </a:extLst>
          </p:cNvPr>
          <p:cNvSpPr txBox="1"/>
          <p:nvPr userDrawn="1"/>
        </p:nvSpPr>
        <p:spPr>
          <a:xfrm>
            <a:off x="558489" y="126657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/>
              <a:t>STICKER</a:t>
            </a:r>
          </a:p>
        </p:txBody>
      </p:sp>
      <p:sp>
        <p:nvSpPr>
          <p:cNvPr id="142" name="Sticker">
            <a:extLst>
              <a:ext uri="{FF2B5EF4-FFF2-40B4-BE49-F238E27FC236}">
                <a16:creationId xmlns:a16="http://schemas.microsoft.com/office/drawing/2014/main" id="{2A8181E3-0688-4E1C-9F09-BE307DA068FE}"/>
              </a:ext>
            </a:extLst>
          </p:cNvPr>
          <p:cNvSpPr txBox="1"/>
          <p:nvPr userDrawn="1"/>
        </p:nvSpPr>
        <p:spPr>
          <a:xfrm>
            <a:off x="9915395" y="89536"/>
            <a:ext cx="65" cy="3231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all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3" name="object 7">
            <a:extLst>
              <a:ext uri="{FF2B5EF4-FFF2-40B4-BE49-F238E27FC236}">
                <a16:creationId xmlns:a16="http://schemas.microsoft.com/office/drawing/2014/main" id="{C7392EC4-F148-4E75-AC95-DA931437E04E}"/>
              </a:ext>
            </a:extLst>
          </p:cNvPr>
          <p:cNvSpPr/>
          <p:nvPr userDrawn="1"/>
        </p:nvSpPr>
        <p:spPr bwMode="ltGray">
          <a:xfrm>
            <a:off x="554735" y="489036"/>
            <a:ext cx="710185" cy="58755"/>
          </a:xfrm>
          <a:custGeom>
            <a:avLst/>
            <a:gdLst/>
            <a:ahLst/>
            <a:cxnLst/>
            <a:rect l="l" t="t" r="r" b="b"/>
            <a:pathLst>
              <a:path w="843280" h="81280">
                <a:moveTo>
                  <a:pt x="0" y="0"/>
                </a:moveTo>
                <a:lnTo>
                  <a:pt x="842771" y="0"/>
                </a:lnTo>
                <a:lnTo>
                  <a:pt x="842771" y="80772"/>
                </a:lnTo>
                <a:lnTo>
                  <a:pt x="0" y="80772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0187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1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77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83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14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notesSlide" Target="../notesSlides/notesSlide3.xml"/><Relationship Id="rId18" Type="http://schemas.openxmlformats.org/officeDocument/2006/relationships/image" Target="../media/image27.png"/><Relationship Id="rId3" Type="http://schemas.openxmlformats.org/officeDocument/2006/relationships/tags" Target="../tags/tag150.xml"/><Relationship Id="rId21" Type="http://schemas.openxmlformats.org/officeDocument/2006/relationships/image" Target="../media/image30.svg"/><Relationship Id="rId7" Type="http://schemas.openxmlformats.org/officeDocument/2006/relationships/tags" Target="../tags/tag154.xml"/><Relationship Id="rId12" Type="http://schemas.openxmlformats.org/officeDocument/2006/relationships/slideLayout" Target="../slideLayouts/slideLayout65.xml"/><Relationship Id="rId17" Type="http://schemas.openxmlformats.org/officeDocument/2006/relationships/image" Target="../media/image26.svg"/><Relationship Id="rId25" Type="http://schemas.openxmlformats.org/officeDocument/2006/relationships/image" Target="../media/image34.svg"/><Relationship Id="rId2" Type="http://schemas.openxmlformats.org/officeDocument/2006/relationships/tags" Target="../tags/tag149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1" Type="http://schemas.openxmlformats.org/officeDocument/2006/relationships/vmlDrawing" Target="../drawings/vmlDrawing23.v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24" Type="http://schemas.openxmlformats.org/officeDocument/2006/relationships/image" Target="../media/image33.png"/><Relationship Id="rId5" Type="http://schemas.openxmlformats.org/officeDocument/2006/relationships/tags" Target="../tags/tag152.xml"/><Relationship Id="rId15" Type="http://schemas.openxmlformats.org/officeDocument/2006/relationships/image" Target="../media/image24.emf"/><Relationship Id="rId23" Type="http://schemas.openxmlformats.org/officeDocument/2006/relationships/image" Target="../media/image32.svg"/><Relationship Id="rId10" Type="http://schemas.openxmlformats.org/officeDocument/2006/relationships/tags" Target="../tags/tag157.xml"/><Relationship Id="rId19" Type="http://schemas.openxmlformats.org/officeDocument/2006/relationships/image" Target="../media/image28.svg"/><Relationship Id="rId4" Type="http://schemas.openxmlformats.org/officeDocument/2006/relationships/tags" Target="../tags/tag151.xml"/><Relationship Id="rId9" Type="http://schemas.openxmlformats.org/officeDocument/2006/relationships/tags" Target="../tags/tag156.xml"/><Relationship Id="rId14" Type="http://schemas.openxmlformats.org/officeDocument/2006/relationships/oleObject" Target="../embeddings/oleObject23.bin"/><Relationship Id="rId22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13" Type="http://schemas.openxmlformats.org/officeDocument/2006/relationships/hyperlink" Target="https://www.cdc.gov/surveillance/policy-standards/interoperability.html" TargetMode="Externa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11" Type="http://schemas.openxmlformats.org/officeDocument/2006/relationships/slideLayout" Target="../slideLayouts/slideLayout81.xml"/><Relationship Id="rId5" Type="http://schemas.openxmlformats.org/officeDocument/2006/relationships/tags" Target="../tags/tag163.xml"/><Relationship Id="rId15" Type="http://schemas.openxmlformats.org/officeDocument/2006/relationships/hyperlink" Target="https://www.cdc.gov/nssp/index.html" TargetMode="External"/><Relationship Id="rId10" Type="http://schemas.openxmlformats.org/officeDocument/2006/relationships/tags" Target="../tags/tag168.xml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hyperlink" Target="https://www.cdc.gov/surveillance/data-modernization/technologies/cdc-front-door.html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Rectangle 8">
            <a:extLst>
              <a:ext uri="{FF2B5EF4-FFF2-40B4-BE49-F238E27FC236}">
                <a16:creationId xmlns:a16="http://schemas.microsoft.com/office/drawing/2014/main" id="{427ADAA7-0BEE-D3DF-EA07-150B047354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hlinkClick r:id="" action="ppaction://noaction"/>
            <a:extLst>
              <a:ext uri="{FF2B5EF4-FFF2-40B4-BE49-F238E27FC236}">
                <a16:creationId xmlns:a16="http://schemas.microsoft.com/office/drawing/2014/main" id="{FE5BB6EB-4982-B6C1-48BB-4C1FC6CE28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2509" y="561109"/>
            <a:ext cx="7412182" cy="2770909"/>
          </a:xfrm>
          <a:prstGeom prst="rect">
            <a:avLst/>
          </a:prstGeom>
          <a:solidFill>
            <a:srgbClr val="015CAC"/>
          </a:solidFill>
          <a:ln>
            <a:solidFill>
              <a:srgbClr val="095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117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8">
            <a:hlinkClick r:id="" action="ppaction://noaction"/>
            <a:extLst>
              <a:ext uri="{FF2B5EF4-FFF2-40B4-BE49-F238E27FC236}">
                <a16:creationId xmlns:a16="http://schemas.microsoft.com/office/drawing/2014/main" id="{DAB6C9D3-721F-184C-F677-DC0637A0669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51690" y="1534897"/>
            <a:ext cx="6573820" cy="169277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3117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HDST Leadership Update</a:t>
            </a:r>
            <a:br>
              <a:rPr lang="en-US" sz="3200" b="1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40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HS Board of Scientific Counselors</a:t>
            </a:r>
            <a:br>
              <a:rPr kumimoji="0" lang="en-US" sz="24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en-US" sz="24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400" b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ptember 2023</a:t>
            </a:r>
            <a:endParaRPr kumimoji="0" lang="en-US" sz="3200" b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A7222E9-8704-43F2-5C1B-D57D7059DA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81880" y="1217226"/>
            <a:ext cx="1640277" cy="1452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88271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B7AFBB5-7E4F-C656-1930-8D58F9B110F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13652" y="574035"/>
            <a:ext cx="11095108" cy="69620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 Bold" charset="0"/>
              </a:rPr>
              <a:t>How the Public Health Data Strategy fits within DMI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015410-4470-C0C6-6CBE-FF97C64983FF}"/>
              </a:ext>
            </a:extLst>
          </p:cNvPr>
          <p:cNvSpPr txBox="1"/>
          <p:nvPr/>
        </p:nvSpPr>
        <p:spPr>
          <a:xfrm>
            <a:off x="513652" y="1043415"/>
            <a:ext cx="110946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DS and DMI operate hand in hand to meet the public health mission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52D550F-F007-203C-5F71-AC3E71D7D6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69976" y="278410"/>
            <a:ext cx="731520" cy="9144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85CBCF-C6FA-5BD5-8FBB-25B844C8C7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0432" y="265074"/>
            <a:ext cx="1046747" cy="118112"/>
          </a:xfrm>
          <a:prstGeom prst="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0067D4-6E9D-5462-D49A-2357A781C9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72800" y="2650"/>
            <a:ext cx="290400" cy="465600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F437B4-E76D-8109-AE63-DB9D125122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1374" y="339146"/>
            <a:ext cx="1096302" cy="8570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5" name="LineContentSeparatorDefault 60">
            <a:extLst>
              <a:ext uri="{FF2B5EF4-FFF2-40B4-BE49-F238E27FC236}">
                <a16:creationId xmlns:a16="http://schemas.microsoft.com/office/drawing/2014/main" id="{2B966081-7BC7-01BD-15B6-70E7B07A51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670524" y="2615413"/>
            <a:ext cx="10850952" cy="0"/>
          </a:xfrm>
          <a:prstGeom prst="straightConnector1">
            <a:avLst/>
          </a:prstGeom>
          <a:noFill/>
          <a:ln w="28575" cap="flat" cmpd="sng" algn="ctr">
            <a:solidFill>
              <a:srgbClr val="015CAC"/>
            </a:solidFill>
            <a:prstDash val="solid"/>
            <a:miter lim="800000"/>
            <a:tailEnd type="none"/>
          </a:ln>
          <a:effectLst/>
        </p:spPr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E4E622C5-3990-ED58-2AFC-BEC357390D67}"/>
              </a:ext>
            </a:extLst>
          </p:cNvPr>
          <p:cNvSpPr txBox="1">
            <a:spLocks/>
          </p:cNvSpPr>
          <p:nvPr/>
        </p:nvSpPr>
        <p:spPr>
          <a:xfrm>
            <a:off x="907955" y="2010016"/>
            <a:ext cx="3865888" cy="3231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15CA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HDS ACCELERATES DMI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4D42C6-459B-DF73-5A79-13BB029B93D6}"/>
              </a:ext>
            </a:extLst>
          </p:cNvPr>
          <p:cNvSpPr txBox="1"/>
          <p:nvPr/>
        </p:nvSpPr>
        <p:spPr>
          <a:xfrm>
            <a:off x="733221" y="2905161"/>
            <a:ext cx="4501878" cy="221599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ay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 pitchFamily="34" charset="0"/>
              </a:rPr>
              <a:t> out important steps that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A0C2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 pitchFamily="34" charset="0"/>
              </a:rPr>
              <a:t>drive DMI priorities forward faster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0C2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 pitchFamily="34" charset="0"/>
              </a:rPr>
              <a:t>Highlights what is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A0C2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 pitchFamily="34" charset="0"/>
              </a:rPr>
              <a:t>most meaningful and achievable over the next two years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0C2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A0C2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 pitchFamily="34" charset="0"/>
              </a:rPr>
              <a:t>Identifies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A0C2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 pitchFamily="34" charset="0"/>
              </a:rPr>
              <a:t>actionable goal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A0C2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 pitchFamily="34" charset="0"/>
              </a:rPr>
              <a:t>that will yield the most impact.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A047D26-0E36-3F75-35B9-0F976C2DA679}"/>
              </a:ext>
            </a:extLst>
          </p:cNvPr>
          <p:cNvSpPr txBox="1">
            <a:spLocks/>
          </p:cNvSpPr>
          <p:nvPr/>
        </p:nvSpPr>
        <p:spPr>
          <a:xfrm>
            <a:off x="7398536" y="2010016"/>
            <a:ext cx="3630873" cy="3231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15CAC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rPr>
              <a:t>DMI ENABLES PHD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CF0CEA-CA0E-302D-7907-43CCA8BD27B0}"/>
              </a:ext>
            </a:extLst>
          </p:cNvPr>
          <p:cNvSpPr txBox="1"/>
          <p:nvPr/>
        </p:nvSpPr>
        <p:spPr>
          <a:xfrm>
            <a:off x="7019600" y="2905161"/>
            <a:ext cx="4439179" cy="304698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lt"/>
                <a:cs typeface="Arial"/>
              </a:rPr>
              <a:t>Provides the vehicle for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A0C2"/>
                </a:solidFill>
                <a:effectLst/>
                <a:uLnTx/>
                <a:uFillTx/>
                <a:latin typeface="Arial" panose="020B0604020202020204"/>
                <a:ea typeface="+mn-lt"/>
                <a:cs typeface="Arial"/>
              </a:rPr>
              <a:t>broad transformation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A0C2"/>
                </a:solidFill>
                <a:effectLst/>
                <a:uLnTx/>
                <a:uFillTx/>
                <a:latin typeface="Arial" panose="020B0604020202020204"/>
                <a:ea typeface="+mn-lt"/>
                <a:cs typeface="Arial"/>
              </a:rPr>
              <a:t>. 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lt"/>
              <a:cs typeface="Arial" panose="020B0604020202020204" pitchFamily="34" charset="0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lt"/>
                <a:cs typeface="Arial"/>
              </a:rPr>
              <a:t>Includes major improvements for </a:t>
            </a:r>
            <a:r>
              <a:rPr lang="en-US" b="1">
                <a:solidFill>
                  <a:srgbClr val="00A0C2"/>
                </a:solidFill>
                <a:latin typeface="Arial" panose="020B0604020202020204"/>
                <a:ea typeface="+mn-lt"/>
                <a:cs typeface="Arial"/>
              </a:rPr>
              <a:t>public health data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lt"/>
                <a:cs typeface="Arial"/>
              </a:rPr>
              <a:t> and systems,</a:t>
            </a:r>
            <a:r>
              <a:rPr lang="en-US">
                <a:latin typeface="Arial" panose="020B0604020202020204"/>
                <a:ea typeface="+mn-lt"/>
                <a:cs typeface="Arial"/>
              </a:rPr>
              <a:t> </a:t>
            </a:r>
          </a:p>
          <a:p>
            <a:pPr marL="285750" indent="-285750">
              <a:buFont typeface="Arial"/>
              <a:buChar char="•"/>
              <a:defRPr/>
            </a:pPr>
            <a:endParaRPr lang="en-US">
              <a:latin typeface="Arial" panose="020B0604020202020204"/>
              <a:ea typeface="+mn-lt"/>
              <a:cs typeface="Arial"/>
            </a:endParaRPr>
          </a:p>
          <a:p>
            <a:pPr marL="285750" indent="-285750">
              <a:buFont typeface="Arial"/>
              <a:buChar char="•"/>
              <a:defRPr/>
            </a:pPr>
            <a:r>
              <a:rPr lang="en-US">
                <a:latin typeface="Arial" panose="020B0604020202020204"/>
                <a:ea typeface="+mn-lt"/>
                <a:cs typeface="Arial"/>
              </a:rPr>
              <a:t>Identifies </a:t>
            </a:r>
            <a:r>
              <a:rPr lang="en-US" b="1">
                <a:solidFill>
                  <a:srgbClr val="00A0C2"/>
                </a:solidFill>
                <a:latin typeface="Arial" panose="020B0604020202020204"/>
                <a:ea typeface="+mn-lt"/>
                <a:cs typeface="Arial"/>
              </a:rPr>
              <a:t>what is needed to carry out the work</a:t>
            </a:r>
            <a:r>
              <a:rPr lang="en-US">
                <a:latin typeface="Arial" panose="020B0604020202020204"/>
                <a:ea typeface="+mn-lt"/>
                <a:cs typeface="Arial"/>
              </a:rPr>
              <a:t> – such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lt"/>
                <a:cs typeface="Arial"/>
              </a:rPr>
              <a:t>as</a:t>
            </a:r>
            <a:r>
              <a:rPr lang="en-US">
                <a:latin typeface="Arial" panose="020B0604020202020204"/>
                <a:ea typeface="+mn-lt"/>
                <a:cs typeface="Arial"/>
              </a:rPr>
              <a:t> a state-of-the-art workforce, expanded partnerships, culture change, and unified governance</a:t>
            </a:r>
          </a:p>
          <a:p>
            <a:pPr>
              <a:defRPr/>
            </a:pPr>
            <a:endParaRPr lang="en-US">
              <a:latin typeface="Arial" panose="020B0604020202020204"/>
              <a:ea typeface="+mn-lt"/>
              <a:cs typeface="Arial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CC6B3EA7-4B63-DAA7-1C46-EF56B4DDE0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35099" y="1756152"/>
            <a:ext cx="1721802" cy="172180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3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Neue Haas Grotesk Display Std 55 Roman" charset="0"/>
              <a:cs typeface="Neue Haas Grotesk Display Std 55 Roman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9FD88BA-1002-8EB2-9795-1E0E0839C8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616260" y="1969564"/>
            <a:ext cx="959481" cy="1294979"/>
            <a:chOff x="5616272" y="1957374"/>
            <a:chExt cx="959481" cy="1294979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B55D0EE8-E304-C741-2541-B6A1E55B038A}"/>
                </a:ext>
              </a:extLst>
            </p:cNvPr>
            <p:cNvSpPr/>
            <p:nvPr/>
          </p:nvSpPr>
          <p:spPr>
            <a:xfrm rot="16200000">
              <a:off x="5366936" y="2428802"/>
              <a:ext cx="1072887" cy="574215"/>
            </a:xfrm>
            <a:custGeom>
              <a:avLst/>
              <a:gdLst>
                <a:gd name="connsiteX0" fmla="*/ 415740 w 1072887"/>
                <a:gd name="connsiteY0" fmla="*/ 395888 h 603757"/>
                <a:gd name="connsiteX1" fmla="*/ 395628 w 1072887"/>
                <a:gd name="connsiteY1" fmla="*/ 375762 h 603757"/>
                <a:gd name="connsiteX2" fmla="*/ 215309 w 1072887"/>
                <a:gd name="connsiteY2" fmla="*/ 556096 h 603757"/>
                <a:gd name="connsiteX3" fmla="*/ 215108 w 1072887"/>
                <a:gd name="connsiteY3" fmla="*/ 556096 h 603757"/>
                <a:gd name="connsiteX4" fmla="*/ 215067 w 1072887"/>
                <a:gd name="connsiteY4" fmla="*/ 556011 h 603757"/>
                <a:gd name="connsiteX5" fmla="*/ 561454 w 1072887"/>
                <a:gd name="connsiteY5" fmla="*/ 37525 h 603757"/>
                <a:gd name="connsiteX6" fmla="*/ 1047115 w 1072887"/>
                <a:gd name="connsiteY6" fmla="*/ 283640 h 603757"/>
                <a:gd name="connsiteX7" fmla="*/ 1072888 w 1072887"/>
                <a:gd name="connsiteY7" fmla="*/ 271593 h 603757"/>
                <a:gd name="connsiteX8" fmla="*/ 449562 w 1072887"/>
                <a:gd name="connsiteY8" fmla="*/ 43828 h 603757"/>
                <a:gd name="connsiteX9" fmla="*/ 183207 w 1072887"/>
                <a:gd name="connsiteY9" fmla="*/ 538545 h 603757"/>
                <a:gd name="connsiteX10" fmla="*/ 183132 w 1072887"/>
                <a:gd name="connsiteY10" fmla="*/ 538710 h 603757"/>
                <a:gd name="connsiteX11" fmla="*/ 182980 w 1072887"/>
                <a:gd name="connsiteY11" fmla="*/ 538659 h 603757"/>
                <a:gd name="connsiteX12" fmla="*/ 20111 w 1072887"/>
                <a:gd name="connsiteY12" fmla="*/ 375762 h 603757"/>
                <a:gd name="connsiteX13" fmla="*/ 0 w 1072887"/>
                <a:gd name="connsiteY13" fmla="*/ 395888 h 603757"/>
                <a:gd name="connsiteX14" fmla="*/ 207870 w 1072887"/>
                <a:gd name="connsiteY14" fmla="*/ 603758 h 603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72887" h="603757">
                  <a:moveTo>
                    <a:pt x="415740" y="395888"/>
                  </a:moveTo>
                  <a:lnTo>
                    <a:pt x="395628" y="375762"/>
                  </a:lnTo>
                  <a:lnTo>
                    <a:pt x="215309" y="556096"/>
                  </a:lnTo>
                  <a:cubicBezTo>
                    <a:pt x="215253" y="556152"/>
                    <a:pt x="215163" y="556152"/>
                    <a:pt x="215108" y="556096"/>
                  </a:cubicBezTo>
                  <a:cubicBezTo>
                    <a:pt x="215085" y="556074"/>
                    <a:pt x="215070" y="556044"/>
                    <a:pt x="215067" y="556011"/>
                  </a:cubicBezTo>
                  <a:cubicBezTo>
                    <a:pt x="167543" y="317183"/>
                    <a:pt x="322626" y="85049"/>
                    <a:pt x="561454" y="37525"/>
                  </a:cubicBezTo>
                  <a:cubicBezTo>
                    <a:pt x="760709" y="-2124"/>
                    <a:pt x="961264" y="99508"/>
                    <a:pt x="1047115" y="283640"/>
                  </a:cubicBezTo>
                  <a:lnTo>
                    <a:pt x="1072888" y="271593"/>
                  </a:lnTo>
                  <a:cubicBezTo>
                    <a:pt x="963656" y="36571"/>
                    <a:pt x="684584" y="-65403"/>
                    <a:pt x="449562" y="43828"/>
                  </a:cubicBezTo>
                  <a:cubicBezTo>
                    <a:pt x="260955" y="131487"/>
                    <a:pt x="152549" y="332836"/>
                    <a:pt x="183207" y="538545"/>
                  </a:cubicBezTo>
                  <a:cubicBezTo>
                    <a:pt x="183231" y="538612"/>
                    <a:pt x="183197" y="538685"/>
                    <a:pt x="183132" y="538710"/>
                  </a:cubicBezTo>
                  <a:cubicBezTo>
                    <a:pt x="183075" y="538730"/>
                    <a:pt x="183012" y="538709"/>
                    <a:pt x="182980" y="538659"/>
                  </a:cubicBezTo>
                  <a:lnTo>
                    <a:pt x="20111" y="375762"/>
                  </a:lnTo>
                  <a:lnTo>
                    <a:pt x="0" y="395888"/>
                  </a:lnTo>
                  <a:lnTo>
                    <a:pt x="207870" y="603758"/>
                  </a:lnTo>
                  <a:close/>
                </a:path>
              </a:pathLst>
            </a:custGeom>
            <a:solidFill>
              <a:srgbClr val="015CAC"/>
            </a:solidFill>
            <a:ln w="14188" cap="flat">
              <a:solidFill>
                <a:srgbClr val="015CAC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4A73A16-77DA-29C8-9760-461DC6DD936D}"/>
                </a:ext>
              </a:extLst>
            </p:cNvPr>
            <p:cNvSpPr/>
            <p:nvPr/>
          </p:nvSpPr>
          <p:spPr>
            <a:xfrm rot="16200000">
              <a:off x="5757543" y="2201369"/>
              <a:ext cx="1062205" cy="574215"/>
            </a:xfrm>
            <a:custGeom>
              <a:avLst/>
              <a:gdLst>
                <a:gd name="connsiteX0" fmla="*/ 646438 w 1062205"/>
                <a:gd name="connsiteY0" fmla="*/ 207884 h 574215"/>
                <a:gd name="connsiteX1" fmla="*/ 666549 w 1062205"/>
                <a:gd name="connsiteY1" fmla="*/ 227996 h 574215"/>
                <a:gd name="connsiteX2" fmla="*/ 850880 w 1062205"/>
                <a:gd name="connsiteY2" fmla="*/ 43665 h 574215"/>
                <a:gd name="connsiteX3" fmla="*/ 851080 w 1062205"/>
                <a:gd name="connsiteY3" fmla="*/ 43665 h 574215"/>
                <a:gd name="connsiteX4" fmla="*/ 851122 w 1062205"/>
                <a:gd name="connsiteY4" fmla="*/ 43750 h 574215"/>
                <a:gd name="connsiteX5" fmla="*/ 479253 w 1062205"/>
                <a:gd name="connsiteY5" fmla="*/ 540988 h 574215"/>
                <a:gd name="connsiteX6" fmla="*/ 414702 w 1062205"/>
                <a:gd name="connsiteY6" fmla="*/ 545483 h 574215"/>
                <a:gd name="connsiteX7" fmla="*/ 25118 w 1062205"/>
                <a:gd name="connsiteY7" fmla="*/ 311243 h 574215"/>
                <a:gd name="connsiteX8" fmla="*/ 0 w 1062205"/>
                <a:gd name="connsiteY8" fmla="*/ 324584 h 574215"/>
                <a:gd name="connsiteX9" fmla="*/ 634524 w 1062205"/>
                <a:gd name="connsiteY9" fmla="*/ 519463 h 574215"/>
                <a:gd name="connsiteX10" fmla="*/ 884062 w 1062205"/>
                <a:gd name="connsiteY10" fmla="*/ 104568 h 574215"/>
                <a:gd name="connsiteX11" fmla="*/ 882640 w 1062205"/>
                <a:gd name="connsiteY11" fmla="*/ 68868 h 574215"/>
                <a:gd name="connsiteX12" fmla="*/ 882782 w 1062205"/>
                <a:gd name="connsiteY12" fmla="*/ 68726 h 574215"/>
                <a:gd name="connsiteX13" fmla="*/ 882868 w 1062205"/>
                <a:gd name="connsiteY13" fmla="*/ 68754 h 574215"/>
                <a:gd name="connsiteX14" fmla="*/ 1042095 w 1062205"/>
                <a:gd name="connsiteY14" fmla="*/ 228052 h 574215"/>
                <a:gd name="connsiteX15" fmla="*/ 1062206 w 1062205"/>
                <a:gd name="connsiteY15" fmla="*/ 207941 h 574215"/>
                <a:gd name="connsiteX16" fmla="*/ 854308 w 1062205"/>
                <a:gd name="connsiteY16" fmla="*/ 0 h 574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62205" h="574215">
                  <a:moveTo>
                    <a:pt x="646438" y="207884"/>
                  </a:moveTo>
                  <a:lnTo>
                    <a:pt x="666549" y="227996"/>
                  </a:lnTo>
                  <a:lnTo>
                    <a:pt x="850880" y="43665"/>
                  </a:lnTo>
                  <a:cubicBezTo>
                    <a:pt x="850935" y="43609"/>
                    <a:pt x="851025" y="43609"/>
                    <a:pt x="851080" y="43665"/>
                  </a:cubicBezTo>
                  <a:cubicBezTo>
                    <a:pt x="851103" y="43688"/>
                    <a:pt x="851119" y="43717"/>
                    <a:pt x="851122" y="43750"/>
                  </a:cubicBezTo>
                  <a:cubicBezTo>
                    <a:pt x="885742" y="283747"/>
                    <a:pt x="719250" y="506369"/>
                    <a:pt x="479253" y="540988"/>
                  </a:cubicBezTo>
                  <a:cubicBezTo>
                    <a:pt x="457876" y="544072"/>
                    <a:pt x="436301" y="545575"/>
                    <a:pt x="414702" y="545483"/>
                  </a:cubicBezTo>
                  <a:cubicBezTo>
                    <a:pt x="251466" y="545633"/>
                    <a:pt x="101536" y="455488"/>
                    <a:pt x="25118" y="311243"/>
                  </a:cubicBezTo>
                  <a:lnTo>
                    <a:pt x="0" y="324584"/>
                  </a:lnTo>
                  <a:cubicBezTo>
                    <a:pt x="121405" y="553618"/>
                    <a:pt x="405491" y="640868"/>
                    <a:pt x="634524" y="519463"/>
                  </a:cubicBezTo>
                  <a:cubicBezTo>
                    <a:pt x="788118" y="438047"/>
                    <a:pt x="884133" y="278406"/>
                    <a:pt x="884062" y="104568"/>
                  </a:cubicBezTo>
                  <a:cubicBezTo>
                    <a:pt x="884062" y="92663"/>
                    <a:pt x="883508" y="80744"/>
                    <a:pt x="882640" y="68868"/>
                  </a:cubicBezTo>
                  <a:cubicBezTo>
                    <a:pt x="882640" y="68790"/>
                    <a:pt x="882704" y="68726"/>
                    <a:pt x="882782" y="68726"/>
                  </a:cubicBezTo>
                  <a:cubicBezTo>
                    <a:pt x="882814" y="68726"/>
                    <a:pt x="882843" y="68736"/>
                    <a:pt x="882868" y="68754"/>
                  </a:cubicBezTo>
                  <a:lnTo>
                    <a:pt x="1042095" y="228052"/>
                  </a:lnTo>
                  <a:lnTo>
                    <a:pt x="1062206" y="207941"/>
                  </a:lnTo>
                  <a:lnTo>
                    <a:pt x="854308" y="0"/>
                  </a:lnTo>
                  <a:close/>
                </a:path>
              </a:pathLst>
            </a:custGeom>
            <a:solidFill>
              <a:srgbClr val="015CAC"/>
            </a:solidFill>
            <a:ln w="14188" cap="flat">
              <a:solidFill>
                <a:srgbClr val="015CAC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1048851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CC2D89E-8F39-952C-E562-E7F861E95C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3216" y="465420"/>
            <a:ext cx="1046747" cy="118112"/>
          </a:xfrm>
          <a:prstGeom prst="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 descr="Four major Public Health Data Goals enable the core public health missions ">
            <a:extLst>
              <a:ext uri="{FF2B5EF4-FFF2-40B4-BE49-F238E27FC236}">
                <a16:creationId xmlns:a16="http://schemas.microsoft.com/office/drawing/2014/main" id="{2F1AF46E-0625-A358-F8B7-86CD2C5FB78D}"/>
              </a:ext>
            </a:extLst>
          </p:cNvPr>
          <p:cNvSpPr/>
          <p:nvPr/>
        </p:nvSpPr>
        <p:spPr>
          <a:xfrm>
            <a:off x="182563" y="256854"/>
            <a:ext cx="11826875" cy="42746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2. Slide Title" descr="Four major Public Health Data Goals enable the core public health missions ">
            <a:extLst>
              <a:ext uri="{FF2B5EF4-FFF2-40B4-BE49-F238E27FC236}">
                <a16:creationId xmlns:a16="http://schemas.microsoft.com/office/drawing/2014/main" id="{F3768C90-3F32-B814-2A14-991EF591D960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554736" y="398771"/>
            <a:ext cx="10764514" cy="738664"/>
          </a:xfrm>
          <a:prstGeom prst="rect">
            <a:avLst/>
          </a:prstGeom>
          <a:noFill/>
          <a:ln>
            <a:noFill/>
            <a:prstDash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1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 w="6350" cap="flat">
                  <a:noFill/>
                  <a:miter lim="800000"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our major Public Health Data Goals enable the core public health missions </a:t>
            </a:r>
            <a:endParaRPr kumimoji="0" lang="en-GB" sz="2400" b="1" i="0" u="none" strike="noStrike" kern="1200" cap="none" spc="0" normalizeH="0" baseline="0" noProof="0">
              <a:ln w="6350" cap="flat">
                <a:noFill/>
                <a:miter lim="800000"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74A3BA-9B01-0FCA-36A2-8BE32DA3C6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72800" y="2650"/>
            <a:ext cx="290400" cy="465600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Group 36" descr="Four Public Health Data Goals:&#10;Strengthen the core of public health data&#10;Accelerate access to analytic and automated solutions to support public health investigations and advance health equity&#10;Visualize and share insights to inform public health action&#10;Advance more open and interoperable public health data">
            <a:extLst>
              <a:ext uri="{FF2B5EF4-FFF2-40B4-BE49-F238E27FC236}">
                <a16:creationId xmlns:a16="http://schemas.microsoft.com/office/drawing/2014/main" id="{CE07B46D-B2C1-A6C4-855D-C5348D6A745C}"/>
              </a:ext>
            </a:extLst>
          </p:cNvPr>
          <p:cNvGrpSpPr/>
          <p:nvPr/>
        </p:nvGrpSpPr>
        <p:grpSpPr>
          <a:xfrm>
            <a:off x="1" y="1588"/>
            <a:ext cx="12148933" cy="6596803"/>
            <a:chOff x="1" y="1588"/>
            <a:chExt cx="12148933" cy="6596803"/>
          </a:xfrm>
        </p:grpSpPr>
        <p:graphicFrame>
          <p:nvGraphicFramePr>
            <p:cNvPr id="2" name="Object 1" hidden="1">
              <a:extLst>
                <a:ext uri="{FF2B5EF4-FFF2-40B4-BE49-F238E27FC236}">
                  <a16:creationId xmlns:a16="http://schemas.microsoft.com/office/drawing/2014/main" id="{00FE3AD3-1FD9-4F70-A67A-59472F175FCC}"/>
                </a:ext>
              </a:extLst>
            </p:cNvPr>
            <p:cNvGraphicFramePr>
              <a:graphicFrameLocks noChangeAspect="1"/>
            </p:cNvGraphicFramePr>
            <p:nvPr>
              <p:custDataLst>
                <p:tags r:id="rId3"/>
              </p:custDataLst>
            </p:nvPr>
          </p:nvGraphicFramePr>
          <p:xfrm>
            <a:off x="1588" y="1588"/>
            <a:ext cx="1588" cy="158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94209" name="think-cell Slide" r:id="rId14" imgW="395" imgH="396" progId="TCLayout.ActiveDocument.1">
                    <p:embed/>
                  </p:oleObj>
                </mc:Choice>
                <mc:Fallback>
                  <p:oleObj name="think-cell Slide" r:id="rId14" imgW="395" imgH="396" progId="TCLayout.ActiveDocument.1">
                    <p:embed/>
                    <p:pic>
                      <p:nvPicPr>
                        <p:cNvPr id="2" name="Object 1" hidden="1">
                          <a:extLst>
                            <a:ext uri="{FF2B5EF4-FFF2-40B4-BE49-F238E27FC236}">
                              <a16:creationId xmlns:a16="http://schemas.microsoft.com/office/drawing/2014/main" id="{00FE3AD3-1FD9-4F70-A67A-59472F175FCC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5"/>
                        <a:stretch>
                          <a:fillRect/>
                        </a:stretch>
                      </p:blipFill>
                      <p:spPr>
                        <a:xfrm>
                          <a:off x="1588" y="1588"/>
                          <a:ext cx="1588" cy="158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4" name="Flowchart: Connector 53">
              <a:extLst>
                <a:ext uri="{FF2B5EF4-FFF2-40B4-BE49-F238E27FC236}">
                  <a16:creationId xmlns:a16="http://schemas.microsoft.com/office/drawing/2014/main" id="{0C509403-697E-45A2-A70C-5DCFEC7249F2}"/>
                </a:ext>
              </a:extLst>
            </p:cNvPr>
            <p:cNvSpPr/>
            <p:nvPr/>
          </p:nvSpPr>
          <p:spPr>
            <a:xfrm>
              <a:off x="97861" y="2052724"/>
              <a:ext cx="3555046" cy="3540233"/>
            </a:xfrm>
            <a:prstGeom prst="flowChartConnector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lowchart: Delay 51">
              <a:extLst>
                <a:ext uri="{FF2B5EF4-FFF2-40B4-BE49-F238E27FC236}">
                  <a16:creationId xmlns:a16="http://schemas.microsoft.com/office/drawing/2014/main" id="{EBB0B403-DF77-4F09-8C36-4113C316D339}"/>
                </a:ext>
              </a:extLst>
            </p:cNvPr>
            <p:cNvSpPr/>
            <p:nvPr/>
          </p:nvSpPr>
          <p:spPr>
            <a:xfrm>
              <a:off x="1" y="1391296"/>
              <a:ext cx="4599295" cy="4891989"/>
            </a:xfrm>
            <a:prstGeom prst="flowChartDelay">
              <a:avLst/>
            </a:prstGeom>
            <a:solidFill>
              <a:srgbClr val="BCDFF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lowchart: Connector 54">
              <a:extLst>
                <a:ext uri="{FF2B5EF4-FFF2-40B4-BE49-F238E27FC236}">
                  <a16:creationId xmlns:a16="http://schemas.microsoft.com/office/drawing/2014/main" id="{CA3BE820-30B3-41C0-A722-C06D369342B3}"/>
                </a:ext>
              </a:extLst>
            </p:cNvPr>
            <p:cNvSpPr/>
            <p:nvPr/>
          </p:nvSpPr>
          <p:spPr>
            <a:xfrm>
              <a:off x="97861" y="2052724"/>
              <a:ext cx="3555046" cy="3540233"/>
            </a:xfrm>
            <a:prstGeom prst="flowChartConnector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92EAE019-616E-42F1-A277-81FC525CC9F0}"/>
                </a:ext>
              </a:extLst>
            </p:cNvPr>
            <p:cNvGrpSpPr/>
            <p:nvPr/>
          </p:nvGrpSpPr>
          <p:grpSpPr>
            <a:xfrm>
              <a:off x="97860" y="2052724"/>
              <a:ext cx="3555047" cy="3540233"/>
              <a:chOff x="459524" y="2195477"/>
              <a:chExt cx="3555047" cy="3540233"/>
            </a:xfrm>
          </p:grpSpPr>
          <p:pic>
            <p:nvPicPr>
              <p:cNvPr id="11" name="Graphic 10">
                <a:extLst>
                  <a:ext uri="{FF2B5EF4-FFF2-40B4-BE49-F238E27FC236}">
                    <a16:creationId xmlns:a16="http://schemas.microsoft.com/office/drawing/2014/main" id="{3414A4C1-49C2-4AF0-9BDC-FDF6FDDA099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459524" y="2195477"/>
                <a:ext cx="3555047" cy="3540233"/>
              </a:xfrm>
              <a:prstGeom prst="rect">
                <a:avLst/>
              </a:prstGeom>
            </p:spPr>
          </p:pic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36E202D0-ABDC-4BA3-BE2A-45AC4DD276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 bwMode="gray">
              <a:xfrm>
                <a:off x="1058295" y="2666246"/>
                <a:ext cx="464602" cy="464602"/>
              </a:xfrm>
              <a:prstGeom prst="rect">
                <a:avLst/>
              </a:prstGeom>
            </p:spPr>
          </p:pic>
          <p:pic>
            <p:nvPicPr>
              <p:cNvPr id="17" name="Graphic 16">
                <a:extLst>
                  <a:ext uri="{FF2B5EF4-FFF2-40B4-BE49-F238E27FC236}">
                    <a16:creationId xmlns:a16="http://schemas.microsoft.com/office/drawing/2014/main" id="{02D699FC-0D82-4BE5-98D1-6E80018B24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 bwMode="gray">
              <a:xfrm>
                <a:off x="2588799" y="2666246"/>
                <a:ext cx="464602" cy="464602"/>
              </a:xfrm>
              <a:prstGeom prst="rect">
                <a:avLst/>
              </a:prstGeom>
            </p:spPr>
          </p:pic>
          <p:pic>
            <p:nvPicPr>
              <p:cNvPr id="18" name="Graphic 17">
                <a:extLst>
                  <a:ext uri="{FF2B5EF4-FFF2-40B4-BE49-F238E27FC236}">
                    <a16:creationId xmlns:a16="http://schemas.microsoft.com/office/drawing/2014/main" id="{9BA233DA-F100-4A86-AF30-37C365AAAD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 bwMode="gray">
              <a:xfrm>
                <a:off x="1058295" y="4227531"/>
                <a:ext cx="464602" cy="464602"/>
              </a:xfrm>
              <a:prstGeom prst="rect">
                <a:avLst/>
              </a:prstGeom>
            </p:spPr>
          </p:pic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id="{AC377930-A277-40D0-9CA7-27ACC600B4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 bwMode="gray">
              <a:xfrm>
                <a:off x="2588799" y="4227531"/>
                <a:ext cx="464602" cy="464602"/>
              </a:xfrm>
              <a:prstGeom prst="rect">
                <a:avLst/>
              </a:prstGeom>
            </p:spPr>
          </p:pic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ABAC2F5-FF90-4C46-BBC7-D6EF29179105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058295" y="3234135"/>
                <a:ext cx="1063240" cy="43088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Detect and monitor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1B850F0-773F-4348-8E4B-A6C5E7911293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588799" y="3234135"/>
                <a:ext cx="1063240" cy="43088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Investigate and respond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DD900EA-DA83-4683-BFCC-AE1C2DA5A537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058295" y="4789034"/>
                <a:ext cx="1063240" cy="43088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Inform and disseminate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AD5540F9-A058-4063-9664-3E2521D595E7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588799" y="4789034"/>
                <a:ext cx="1063240" cy="43088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Be response-ready</a:t>
                </a:r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186BC18-C2CC-4CEB-B715-DC192D251F51}"/>
                </a:ext>
              </a:extLst>
            </p:cNvPr>
            <p:cNvSpPr txBox="1">
              <a:spLocks/>
            </p:cNvSpPr>
            <p:nvPr/>
          </p:nvSpPr>
          <p:spPr>
            <a:xfrm>
              <a:off x="4758109" y="3303325"/>
              <a:ext cx="7199607" cy="43088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ake tools available so STLTs and other public health decision-makers can better use public health data to address health disparitie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A8975DDD-3B6D-4954-84A5-F3BDC9288BB0}"/>
                </a:ext>
              </a:extLst>
            </p:cNvPr>
            <p:cNvSpPr txBox="1">
              <a:spLocks/>
            </p:cNvSpPr>
            <p:nvPr/>
          </p:nvSpPr>
          <p:spPr>
            <a:xfrm>
              <a:off x="3290375" y="1818475"/>
              <a:ext cx="328138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15CAC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4256ACC-8C25-4E65-85E2-EBF764CB2ABF}"/>
                </a:ext>
              </a:extLst>
            </p:cNvPr>
            <p:cNvSpPr txBox="1">
              <a:spLocks/>
            </p:cNvSpPr>
            <p:nvPr/>
          </p:nvSpPr>
          <p:spPr>
            <a:xfrm>
              <a:off x="4024216" y="2963148"/>
              <a:ext cx="328138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15CAC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38873272-ED32-4C06-A5D4-7A79A09327EA}"/>
                </a:ext>
              </a:extLst>
            </p:cNvPr>
            <p:cNvSpPr txBox="1"/>
            <p:nvPr/>
          </p:nvSpPr>
          <p:spPr>
            <a:xfrm>
              <a:off x="3290375" y="1016150"/>
              <a:ext cx="2731517" cy="276999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ublic Health Data Goals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2F782651-FFDF-4BC3-95F9-022AA055A275}"/>
                </a:ext>
              </a:extLst>
            </p:cNvPr>
            <p:cNvSpPr txBox="1"/>
            <p:nvPr/>
          </p:nvSpPr>
          <p:spPr>
            <a:xfrm>
              <a:off x="311988" y="1609046"/>
              <a:ext cx="1382130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re public health missions</a:t>
              </a:r>
            </a:p>
          </p:txBody>
        </p:sp>
        <p:sp>
          <p:nvSpPr>
            <p:cNvPr id="36" name="4. Footnote">
              <a:extLst>
                <a:ext uri="{FF2B5EF4-FFF2-40B4-BE49-F238E27FC236}">
                  <a16:creationId xmlns:a16="http://schemas.microsoft.com/office/drawing/2014/main" id="{B5C309C1-7954-43A0-97A6-7B0D7710C328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553972" y="6352170"/>
              <a:ext cx="11082528" cy="246221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en-US"/>
              </a:defPPr>
              <a:lvl1pPr marL="203200" marR="0" lvl="0" indent="-212725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00">
                  <a:cs typeface="Arial" panose="020B0604020202020204" pitchFamily="34" charset="0"/>
                </a:defRPr>
              </a:lvl1pPr>
            </a:lstStyle>
            <a:p>
              <a:pPr marL="203200" marR="0" lvl="0" indent="-2127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.	Case (including electronic case reporting [</a:t>
              </a:r>
              <a:r>
                <a:rPr kumimoji="0" lang="en-US" sz="8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CR</a:t>
              </a: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]), lab (including electronic lab reporting [ELR], Electronic Test Orders and Results [ETOR]), emergency department (including National Syndromic Surveillance Program [NSSP] emergency department data), vital statistics, immunization, healthcare capacity (including National Healthcare Safety Network [NHSN] data)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D73279C-5D2D-42B0-900F-6B0A1CE2381D}"/>
                </a:ext>
              </a:extLst>
            </p:cNvPr>
            <p:cNvSpPr txBox="1">
              <a:spLocks/>
            </p:cNvSpPr>
            <p:nvPr/>
          </p:nvSpPr>
          <p:spPr>
            <a:xfrm>
              <a:off x="4308865" y="1965611"/>
              <a:ext cx="7615619" cy="43088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Ensure Core Data Sources</a:t>
              </a:r>
              <a:r>
                <a:rPr kumimoji="0" lang="en-US" sz="1400" b="0" i="0" u="none" strike="noStrike" kern="120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are more complete, timely, rapidly exchanged, and available to support the integrated ability to detect, monitor, investigate, and respond to public health threats 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0A495FF-1DFB-4F27-A8B9-4B2685D45865}"/>
                </a:ext>
              </a:extLst>
            </p:cNvPr>
            <p:cNvSpPr txBox="1">
              <a:spLocks/>
            </p:cNvSpPr>
            <p:nvPr/>
          </p:nvSpPr>
          <p:spPr>
            <a:xfrm>
              <a:off x="4021789" y="4138772"/>
              <a:ext cx="328138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15CAC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3BE6146-97F1-444F-95EE-30FF8AC21B4A}"/>
                </a:ext>
              </a:extLst>
            </p:cNvPr>
            <p:cNvSpPr txBox="1">
              <a:spLocks/>
            </p:cNvSpPr>
            <p:nvPr/>
          </p:nvSpPr>
          <p:spPr>
            <a:xfrm>
              <a:off x="4726571" y="4345043"/>
              <a:ext cx="7136629" cy="6463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  <a:t>Serve as a trusted source for near real-time visualizations and offer situational awareness 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Arial" panose="020B0604020202020204" pitchFamily="34" charset="0"/>
                </a:rPr>
                <a:t>for the public and decision-makers to understand risks, make decisions, and direct resources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43621CF-A385-47BB-83D9-FDD1504EB3F9}"/>
                </a:ext>
              </a:extLst>
            </p:cNvPr>
            <p:cNvSpPr txBox="1">
              <a:spLocks/>
            </p:cNvSpPr>
            <p:nvPr/>
          </p:nvSpPr>
          <p:spPr>
            <a:xfrm>
              <a:off x="3300887" y="5265659"/>
              <a:ext cx="328138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015CAC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07B0FA5-6C7E-4057-8FDE-EE2F58997616}"/>
                </a:ext>
              </a:extLst>
            </p:cNvPr>
            <p:cNvSpPr txBox="1">
              <a:spLocks/>
            </p:cNvSpPr>
            <p:nvPr/>
          </p:nvSpPr>
          <p:spPr>
            <a:xfrm>
              <a:off x="4388048" y="5611997"/>
              <a:ext cx="7397382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nable exchange of interoperable data so that healthcare, STLTs, federal agency partners, and CDC programs can access and use data they need, when they need it</a:t>
              </a: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4BFA1C9-716E-88F3-B930-43FE2620FD05}"/>
                </a:ext>
              </a:extLst>
            </p:cNvPr>
            <p:cNvGrpSpPr/>
            <p:nvPr/>
          </p:nvGrpSpPr>
          <p:grpSpPr>
            <a:xfrm>
              <a:off x="3327567" y="5077961"/>
              <a:ext cx="8457863" cy="1"/>
              <a:chOff x="3327567" y="5196594"/>
              <a:chExt cx="8457863" cy="1"/>
            </a:xfrm>
          </p:grpSpPr>
          <p:cxnSp>
            <p:nvCxnSpPr>
              <p:cNvPr id="8" name="LineBasicDefault 30">
                <a:extLst>
                  <a:ext uri="{FF2B5EF4-FFF2-40B4-BE49-F238E27FC236}">
                    <a16:creationId xmlns:a16="http://schemas.microsoft.com/office/drawing/2014/main" id="{3FD2697D-BE33-0065-DABC-D5B3BAF62A0F}"/>
                  </a:ext>
                </a:extLst>
              </p:cNvPr>
              <p:cNvCxnSpPr>
                <a:cxnSpLocks/>
              </p:cNvCxnSpPr>
              <p:nvPr>
                <p:custDataLst>
                  <p:tags r:id="rId10"/>
                </p:custDataLst>
              </p:nvPr>
            </p:nvCxnSpPr>
            <p:spPr bwMode="gray">
              <a:xfrm>
                <a:off x="4449401" y="5196595"/>
                <a:ext cx="7336029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LineBasicDefault 30">
                <a:extLst>
                  <a:ext uri="{FF2B5EF4-FFF2-40B4-BE49-F238E27FC236}">
                    <a16:creationId xmlns:a16="http://schemas.microsoft.com/office/drawing/2014/main" id="{C7A4A367-CF00-19E0-EF37-AA4E10D119BE}"/>
                  </a:ext>
                </a:extLst>
              </p:cNvPr>
              <p:cNvCxnSpPr>
                <a:cxnSpLocks/>
              </p:cNvCxnSpPr>
              <p:nvPr>
                <p:custDataLst>
                  <p:tags r:id="rId11"/>
                </p:custDataLst>
              </p:nvPr>
            </p:nvCxnSpPr>
            <p:spPr bwMode="gray">
              <a:xfrm>
                <a:off x="3327567" y="5196594"/>
                <a:ext cx="795530" cy="1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573605D4-1073-2721-DF5B-37C002639858}"/>
                </a:ext>
              </a:extLst>
            </p:cNvPr>
            <p:cNvGrpSpPr/>
            <p:nvPr/>
          </p:nvGrpSpPr>
          <p:grpSpPr>
            <a:xfrm>
              <a:off x="3729733" y="3849827"/>
              <a:ext cx="8055697" cy="1"/>
              <a:chOff x="3729733" y="3968308"/>
              <a:chExt cx="8055697" cy="1"/>
            </a:xfrm>
          </p:grpSpPr>
          <p:cxnSp>
            <p:nvCxnSpPr>
              <p:cNvPr id="7" name="LineBasicDefault 30">
                <a:extLst>
                  <a:ext uri="{FF2B5EF4-FFF2-40B4-BE49-F238E27FC236}">
                    <a16:creationId xmlns:a16="http://schemas.microsoft.com/office/drawing/2014/main" id="{6E6021D1-6D7A-F1AD-CCDC-98E51816EE08}"/>
                  </a:ext>
                </a:extLst>
              </p:cNvPr>
              <p:cNvCxnSpPr>
                <a:cxnSpLocks/>
              </p:cNvCxnSpPr>
              <p:nvPr>
                <p:custDataLst>
                  <p:tags r:id="rId8"/>
                </p:custDataLst>
              </p:nvPr>
            </p:nvCxnSpPr>
            <p:spPr bwMode="gray">
              <a:xfrm>
                <a:off x="4777484" y="3968308"/>
                <a:ext cx="7007946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LineBasicDefault 30">
                <a:extLst>
                  <a:ext uri="{FF2B5EF4-FFF2-40B4-BE49-F238E27FC236}">
                    <a16:creationId xmlns:a16="http://schemas.microsoft.com/office/drawing/2014/main" id="{8451E42B-4B10-AEBB-3E63-6A9FC9D3A7C9}"/>
                  </a:ext>
                </a:extLst>
              </p:cNvPr>
              <p:cNvCxnSpPr>
                <a:cxnSpLocks/>
              </p:cNvCxnSpPr>
              <p:nvPr>
                <p:custDataLst>
                  <p:tags r:id="rId9"/>
                </p:custDataLst>
              </p:nvPr>
            </p:nvCxnSpPr>
            <p:spPr bwMode="gray">
              <a:xfrm>
                <a:off x="3729733" y="3968308"/>
                <a:ext cx="795530" cy="1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7BD0E10-B2A6-BAAC-6E4F-867E9C24E299}"/>
                </a:ext>
              </a:extLst>
            </p:cNvPr>
            <p:cNvGrpSpPr/>
            <p:nvPr/>
          </p:nvGrpSpPr>
          <p:grpSpPr>
            <a:xfrm>
              <a:off x="3391067" y="2654874"/>
              <a:ext cx="8394363" cy="0"/>
              <a:chOff x="3391067" y="2675188"/>
              <a:chExt cx="8394363" cy="0"/>
            </a:xfrm>
          </p:grpSpPr>
          <p:cxnSp>
            <p:nvCxnSpPr>
              <p:cNvPr id="5" name="LineBasicDefault 30">
                <a:extLst>
                  <a:ext uri="{FF2B5EF4-FFF2-40B4-BE49-F238E27FC236}">
                    <a16:creationId xmlns:a16="http://schemas.microsoft.com/office/drawing/2014/main" id="{B580DE9E-9ED7-1525-92F5-E51C8615F2C2}"/>
                  </a:ext>
                </a:extLst>
              </p:cNvPr>
              <p:cNvCxnSpPr>
                <a:cxnSpLocks/>
              </p:cNvCxnSpPr>
              <p:nvPr>
                <p:custDataLst>
                  <p:tags r:id="rId6"/>
                </p:custDataLst>
              </p:nvPr>
            </p:nvCxnSpPr>
            <p:spPr bwMode="gray">
              <a:xfrm>
                <a:off x="4449401" y="2675188"/>
                <a:ext cx="7336029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LineBasicDefault 30">
                <a:extLst>
                  <a:ext uri="{FF2B5EF4-FFF2-40B4-BE49-F238E27FC236}">
                    <a16:creationId xmlns:a16="http://schemas.microsoft.com/office/drawing/2014/main" id="{0608258D-F680-C497-1F84-D8937A0F7687}"/>
                  </a:ext>
                </a:extLst>
              </p:cNvPr>
              <p:cNvCxnSpPr>
                <a:cxnSpLocks/>
              </p:cNvCxnSpPr>
              <p:nvPr>
                <p:custDataLst>
                  <p:tags r:id="rId7"/>
                </p:custDataLst>
              </p:nvPr>
            </p:nvCxnSpPr>
            <p:spPr bwMode="gray">
              <a:xfrm flipV="1">
                <a:off x="3391067" y="2675188"/>
                <a:ext cx="795530" cy="0"/>
              </a:xfrm>
              <a:prstGeom prst="straightConnector1">
                <a:avLst/>
              </a:prstGeom>
              <a:ln w="6350" cap="flat">
                <a:solidFill>
                  <a:srgbClr val="7F7F7F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5" name="LineBasicDefault 30">
              <a:extLst>
                <a:ext uri="{FF2B5EF4-FFF2-40B4-BE49-F238E27FC236}">
                  <a16:creationId xmlns:a16="http://schemas.microsoft.com/office/drawing/2014/main" id="{28CD0B03-5B40-4B38-BCD8-486DB55F60DB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 bwMode="gray">
            <a:xfrm flipV="1">
              <a:off x="3300887" y="1364413"/>
              <a:ext cx="8484543" cy="30084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6305636-427F-8805-4517-A6F88A17A31E}"/>
                </a:ext>
              </a:extLst>
            </p:cNvPr>
            <p:cNvSpPr txBox="1">
              <a:spLocks/>
            </p:cNvSpPr>
            <p:nvPr/>
          </p:nvSpPr>
          <p:spPr>
            <a:xfrm>
              <a:off x="4123097" y="1641797"/>
              <a:ext cx="7336029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Strengthen the core of public health data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384C1FC-9FC3-4E3E-CAF0-88AA5F0C7EF3}"/>
                </a:ext>
              </a:extLst>
            </p:cNvPr>
            <p:cNvSpPr txBox="1">
              <a:spLocks/>
            </p:cNvSpPr>
            <p:nvPr/>
          </p:nvSpPr>
          <p:spPr>
            <a:xfrm>
              <a:off x="4758109" y="2763266"/>
              <a:ext cx="7336029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celerate access to analytic and automated solutions to support public health investigations and advance health equity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A6FD37D-A499-BB6A-1E78-FBE51C633F25}"/>
                </a:ext>
              </a:extLst>
            </p:cNvPr>
            <p:cNvSpPr txBox="1">
              <a:spLocks/>
            </p:cNvSpPr>
            <p:nvPr/>
          </p:nvSpPr>
          <p:spPr>
            <a:xfrm>
              <a:off x="4812905" y="4034661"/>
              <a:ext cx="7336029" cy="2462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Visualize and share insights to inform public health action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31EA7EF-36F7-F321-1A45-9D419A9A0608}"/>
                </a:ext>
              </a:extLst>
            </p:cNvPr>
            <p:cNvSpPr txBox="1">
              <a:spLocks/>
            </p:cNvSpPr>
            <p:nvPr/>
          </p:nvSpPr>
          <p:spPr>
            <a:xfrm>
              <a:off x="4388047" y="5247679"/>
              <a:ext cx="7336029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dvance more open and interoperable public health da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73171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>
            <a:extLst>
              <a:ext uri="{FF2B5EF4-FFF2-40B4-BE49-F238E27FC236}">
                <a16:creationId xmlns:a16="http://schemas.microsoft.com/office/drawing/2014/main" id="{D7B6906E-192C-6B5E-7075-9788D33DA0D1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554736" y="269292"/>
            <a:ext cx="11082528" cy="323165"/>
          </a:xfrm>
          <a:prstGeom prst="rect">
            <a:avLst/>
          </a:prstGeom>
          <a:noFill/>
          <a:ln>
            <a:noFill/>
            <a:prstDash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1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1200" cap="none" spc="0" normalizeH="0" baseline="0" noProof="0">
                <a:ln w="6350" cap="flat">
                  <a:noFill/>
                  <a:miter lim="800000"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ublic Health Data Goals drive key outcomes over the next 2 years</a:t>
            </a:r>
          </a:p>
        </p:txBody>
      </p:sp>
      <p:grpSp>
        <p:nvGrpSpPr>
          <p:cNvPr id="5" name="Group 4" descr="Four goals over the next two years. ">
            <a:extLst>
              <a:ext uri="{FF2B5EF4-FFF2-40B4-BE49-F238E27FC236}">
                <a16:creationId xmlns:a16="http://schemas.microsoft.com/office/drawing/2014/main" id="{1723272A-7E04-31EE-C671-FE45C7945FD4}"/>
              </a:ext>
            </a:extLst>
          </p:cNvPr>
          <p:cNvGrpSpPr/>
          <p:nvPr/>
        </p:nvGrpSpPr>
        <p:grpSpPr>
          <a:xfrm>
            <a:off x="3176" y="807777"/>
            <a:ext cx="12192001" cy="5944247"/>
            <a:chOff x="3176" y="807777"/>
            <a:chExt cx="12192001" cy="594424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8C825CB-4E22-C45B-F212-32C29E977F88}"/>
                </a:ext>
              </a:extLst>
            </p:cNvPr>
            <p:cNvSpPr txBox="1">
              <a:spLocks/>
            </p:cNvSpPr>
            <p:nvPr/>
          </p:nvSpPr>
          <p:spPr>
            <a:xfrm>
              <a:off x="555696" y="807777"/>
              <a:ext cx="2049286" cy="21544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Goal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47FC5BA-140C-ADEE-A379-47EF36F53F25}"/>
                </a:ext>
              </a:extLst>
            </p:cNvPr>
            <p:cNvSpPr txBox="1">
              <a:spLocks/>
            </p:cNvSpPr>
            <p:nvPr/>
          </p:nvSpPr>
          <p:spPr>
            <a:xfrm>
              <a:off x="852838" y="3095621"/>
              <a:ext cx="2184560" cy="104691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celerate access to analytic and automated solutions t</a:t>
              </a:r>
              <a:endPara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15CAC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906AB688-3151-B1A6-A344-570E21EF09C2}"/>
                </a:ext>
              </a:extLst>
            </p:cNvPr>
            <p:cNvGrpSpPr/>
            <p:nvPr/>
          </p:nvGrpSpPr>
          <p:grpSpPr>
            <a:xfrm>
              <a:off x="441279" y="3095621"/>
              <a:ext cx="340671" cy="1064347"/>
              <a:chOff x="441279" y="3015901"/>
              <a:chExt cx="340671" cy="1073972"/>
            </a:xfrm>
          </p:grpSpPr>
          <p:cxnSp>
            <p:nvCxnSpPr>
              <p:cNvPr id="12" name="LineContentSeparatorDefaultVertical 29">
                <a:extLst>
                  <a:ext uri="{FF2B5EF4-FFF2-40B4-BE49-F238E27FC236}">
                    <a16:creationId xmlns:a16="http://schemas.microsoft.com/office/drawing/2014/main" id="{3FACD05E-2647-4210-8A79-9A517EFBA220}"/>
                  </a:ext>
                </a:extLst>
              </p:cNvPr>
              <p:cNvCxnSpPr>
                <a:cxnSpLocks/>
              </p:cNvCxnSpPr>
              <p:nvPr>
                <p:custDataLst>
                  <p:tags r:id="rId10"/>
                </p:custDataLst>
              </p:nvPr>
            </p:nvCxnSpPr>
            <p:spPr bwMode="gray">
              <a:xfrm>
                <a:off x="751622" y="3056410"/>
                <a:ext cx="0" cy="1033463"/>
              </a:xfrm>
              <a:prstGeom prst="straightConnector1">
                <a:avLst/>
              </a:prstGeom>
              <a:ln w="19050" cap="flat">
                <a:solidFill>
                  <a:srgbClr val="7F7F7F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94E329CB-A94E-7A4E-83F3-A92668DADE5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41279" y="3015901"/>
                <a:ext cx="340671" cy="307777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Segoe UI" panose="020B0502040204020203" pitchFamily="34" charset="0"/>
                  <a:buChar char="​"/>
                  <a:defRPr lang="en-US" sz="1600" dirty="0">
                    <a:cs typeface="Arial" panose="020B0604020202020204" pitchFamily="34" charset="0"/>
                  </a:defRPr>
                </a:lvl1pPr>
                <a:lvl2pPr marL="228600" lvl="1" indent="-22860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Wingdings" panose="05000000000000000000" pitchFamily="2" charset="2"/>
                  <a:buChar char=""/>
                  <a:defRPr lang="en-US" sz="1600" dirty="0"/>
                </a:lvl2pPr>
                <a:lvl3pPr marL="438912" lvl="2" indent="-210312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10000"/>
                  <a:buFont typeface="Arial" panose="020B0604020202020204" pitchFamily="34" charset="0"/>
                  <a:buChar char="‒"/>
                  <a:defRPr lang="en-US" sz="1600" dirty="0"/>
                </a:lvl3pPr>
                <a:lvl4pPr marL="594360" lvl="3" indent="-15544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•"/>
                  <a:defRPr lang="en-US" sz="1600" dirty="0"/>
                </a:lvl4pPr>
                <a:lvl5pPr marL="813816" lvl="4" indent="-146304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tx1"/>
                  </a:buClr>
                  <a:buSzPct val="100000"/>
                  <a:buFont typeface="Arial" panose="020B0604020202020204" pitchFamily="34" charset="0"/>
                  <a:buChar char="̶"/>
                  <a:defRPr lang="en-US" sz="1600" dirty="0"/>
                </a:lvl5pPr>
                <a:lvl6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Pct val="100000"/>
                  <a:buFont typeface="Segoe UI" panose="020B0502040204020203" pitchFamily="34" charset="0"/>
                  <a:buChar char="​"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2</a:t>
                </a:r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A2CB40C-3673-746E-E757-9B505136D4EF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3126263" y="3095621"/>
              <a:ext cx="8625766" cy="109260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LTs and CDC can identify emerging threats in all parts of the nation in a timely way as </a:t>
              </a:r>
              <a:r>
                <a:rPr kumimoji="0" lang="en-US" sz="1100" b="1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e critical access hospitals in rural communities send case data electronically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LTs can </a:t>
              </a:r>
              <a:r>
                <a:rPr kumimoji="0" lang="en-US" sz="1100" b="1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dress gaps in the public health workflow </a:t>
              </a:r>
              <a:r>
                <a:rPr kumimoji="0" lang="en-US" sz="11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ch as linking case, lab, and immunization records to enrich data and inform public health action through reusable technologies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LTs and communities can </a:t>
              </a:r>
              <a:r>
                <a:rPr kumimoji="0" lang="en-US" sz="1100" b="1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y, prevent, and mitigate disproportionate impact on populations </a:t>
              </a:r>
              <a:r>
                <a:rPr kumimoji="0" lang="en-US" sz="11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rough use of automated reports provided by CDC, using CDC public health databases</a:t>
              </a: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3A68140-564B-B5F1-1338-B89F2D780F39}"/>
                </a:ext>
              </a:extLst>
            </p:cNvPr>
            <p:cNvSpPr txBox="1">
              <a:spLocks/>
            </p:cNvSpPr>
            <p:nvPr/>
          </p:nvSpPr>
          <p:spPr>
            <a:xfrm>
              <a:off x="904234" y="4304460"/>
              <a:ext cx="2021847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Visualize and share  insights to inform public health action</a:t>
              </a:r>
            </a:p>
          </p:txBody>
        </p:sp>
        <p:cxnSp>
          <p:nvCxnSpPr>
            <p:cNvPr id="18" name="LineContentSeparatorDefaultVertical 29">
              <a:extLst>
                <a:ext uri="{FF2B5EF4-FFF2-40B4-BE49-F238E27FC236}">
                  <a16:creationId xmlns:a16="http://schemas.microsoft.com/office/drawing/2014/main" id="{18C1534F-2B70-69E7-0D68-0F8C2265F0AB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 bwMode="gray">
            <a:xfrm>
              <a:off x="751622" y="4343400"/>
              <a:ext cx="0" cy="469369"/>
            </a:xfrm>
            <a:prstGeom prst="straightConnector1">
              <a:avLst/>
            </a:prstGeom>
            <a:ln w="190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555642E-8D39-CF3F-CC6C-78477174320F}"/>
                </a:ext>
              </a:extLst>
            </p:cNvPr>
            <p:cNvSpPr txBox="1">
              <a:spLocks/>
            </p:cNvSpPr>
            <p:nvPr/>
          </p:nvSpPr>
          <p:spPr>
            <a:xfrm>
              <a:off x="441279" y="4304460"/>
              <a:ext cx="337080" cy="30777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EEDDAF2-28AB-2D60-B272-EE5E76EEE9FB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3140766" y="4304460"/>
              <a:ext cx="8814666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LTs and CDC programs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ceive quicker access to data and insights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rom Core Data Sources</a:t>
              </a:r>
              <a:r>
                <a:rPr kumimoji="0" lang="en-US" sz="1100" b="0" i="0" u="none" strike="noStrike" kern="120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mericans can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cess near real-time data and visualizations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de available via a centralized data dissemination platform (e.g., a Public Health Data Channel like the National Weather Service) to improve understanding and inform decisions about public health risk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9AE0DF8-2C08-6952-93D5-DF5177E2B7E2}"/>
                </a:ext>
              </a:extLst>
            </p:cNvPr>
            <p:cNvSpPr txBox="1">
              <a:spLocks/>
            </p:cNvSpPr>
            <p:nvPr/>
          </p:nvSpPr>
          <p:spPr>
            <a:xfrm>
              <a:off x="904235" y="4974692"/>
              <a:ext cx="1838966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Calibri" panose="020F0502020204030204" pitchFamily="34" charset="0"/>
                  <a:cs typeface="Times New Roman" panose="02020603050405020304" pitchFamily="18" charset="0"/>
                </a:rPr>
                <a:t>Advance more open and interoperable public health data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24" name="LineContentSeparatorDefaultVertical 29">
              <a:extLst>
                <a:ext uri="{FF2B5EF4-FFF2-40B4-BE49-F238E27FC236}">
                  <a16:creationId xmlns:a16="http://schemas.microsoft.com/office/drawing/2014/main" id="{B98951DF-AAA0-54AB-73D7-7C041F372951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 bwMode="gray">
            <a:xfrm>
              <a:off x="751622" y="5010912"/>
              <a:ext cx="0" cy="1066955"/>
            </a:xfrm>
            <a:prstGeom prst="straightConnector1">
              <a:avLst/>
            </a:prstGeom>
            <a:ln w="190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9F6D199-8537-4BD2-3554-1A47C10CF5A8}"/>
                </a:ext>
              </a:extLst>
            </p:cNvPr>
            <p:cNvSpPr txBox="1">
              <a:spLocks/>
            </p:cNvSpPr>
            <p:nvPr/>
          </p:nvSpPr>
          <p:spPr>
            <a:xfrm>
              <a:off x="441279" y="4974692"/>
              <a:ext cx="340671" cy="43072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E403E6A-7776-C7E5-DF7D-423AF02175B0}"/>
                </a:ext>
              </a:extLst>
            </p:cNvPr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3140766" y="4974692"/>
              <a:ext cx="8814666" cy="113107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DC establishes a strategic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athway of data exchange with providers’ electronic health records (EHRs)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through at least 2 initial Trusted Exchange Framework and Common Agreement (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hlinkClick r:id="rId1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EFCA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) for public health use case pilots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DC and STLTs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ncrease data exchange back to healthcare providers,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helping to inform clinical decision-making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Data use and access are easier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through established, standardized agreements (e.g., for sharing emergency department data with CDC programs, STLTs), enabling quicker access to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minimal data necessary for response during a public health emergency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DC has measurably and securely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ncreased the number of accessible open public health data sets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or timely use and faster insights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C1D8B94-47D0-3EF8-2C64-F9A2D229D8EB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60277" y="1056763"/>
              <a:ext cx="11601091" cy="0"/>
            </a:xfrm>
            <a:prstGeom prst="line">
              <a:avLst/>
            </a:prstGeom>
            <a:ln w="1270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2B11014-A8ED-3D5A-D417-4397B776E21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47388" y="4246344"/>
              <a:ext cx="11498988" cy="0"/>
            </a:xfrm>
            <a:prstGeom prst="line">
              <a:avLst/>
            </a:prstGeom>
            <a:ln w="6350" cap="flat">
              <a:solidFill>
                <a:srgbClr val="D0D0D0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3ED2607-13D7-3792-BDAC-B66118A8E37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60277" y="4916574"/>
              <a:ext cx="11498988" cy="0"/>
            </a:xfrm>
            <a:prstGeom prst="line">
              <a:avLst/>
            </a:prstGeom>
            <a:ln w="6350" cap="flat">
              <a:solidFill>
                <a:srgbClr val="D0D0D0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04B51DC-77FC-1225-7126-0297EE6208E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60277" y="3037505"/>
              <a:ext cx="11498988" cy="0"/>
            </a:xfrm>
            <a:prstGeom prst="line">
              <a:avLst/>
            </a:prstGeom>
            <a:ln w="6350" cap="flat">
              <a:solidFill>
                <a:srgbClr val="D0D0D0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4F78179-2498-0229-8DAA-598ACF0120A7}"/>
                </a:ext>
              </a:extLst>
            </p:cNvPr>
            <p:cNvSpPr txBox="1">
              <a:spLocks/>
            </p:cNvSpPr>
            <p:nvPr/>
          </p:nvSpPr>
          <p:spPr>
            <a:xfrm>
              <a:off x="904235" y="1132730"/>
              <a:ext cx="2021846" cy="138654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Strengthen the core of public health data</a:t>
              </a:r>
            </a:p>
          </p:txBody>
        </p:sp>
        <p:cxnSp>
          <p:nvCxnSpPr>
            <p:cNvPr id="31" name="LineContentSeparatorDefaultVertical 29">
              <a:extLst>
                <a:ext uri="{FF2B5EF4-FFF2-40B4-BE49-F238E27FC236}">
                  <a16:creationId xmlns:a16="http://schemas.microsoft.com/office/drawing/2014/main" id="{370D0733-75ED-D915-E673-C83A19E2CB6B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 bwMode="gray">
            <a:xfrm flipH="1">
              <a:off x="739723" y="1132730"/>
              <a:ext cx="11899" cy="1762870"/>
            </a:xfrm>
            <a:prstGeom prst="straightConnector1">
              <a:avLst/>
            </a:prstGeom>
            <a:ln w="190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2228432-01CC-0BE9-D138-6B5D300BD5A1}"/>
                </a:ext>
              </a:extLst>
            </p:cNvPr>
            <p:cNvSpPr txBox="1">
              <a:spLocks/>
            </p:cNvSpPr>
            <p:nvPr/>
          </p:nvSpPr>
          <p:spPr>
            <a:xfrm>
              <a:off x="441279" y="1132730"/>
              <a:ext cx="337080" cy="30777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51951CD-B848-0F66-CF35-5C08B453075C}"/>
                </a:ext>
              </a:extLst>
            </p:cNvPr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3140765" y="1132730"/>
              <a:ext cx="8920603" cy="184665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tes, tribes, localities, and territories (STLTs) have reduced reporting burden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 case data are electronically reported in a consistent format,</a:t>
              </a:r>
              <a:r>
                <a:rPr kumimoji="0" lang="en-US" sz="1100" b="0" i="0" u="none" strike="noStrike" kern="1200" cap="none" spc="-4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using a </a:t>
              </a:r>
              <a:r>
                <a:rPr kumimoji="0" lang="en-US" sz="1100" b="1" i="0" u="sng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hlinkClick r:id="rId1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DC Front Door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cept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ublic health labs can forecast needs better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ith integrated, electronic ability to see test orders before samples arrive and ensure faster exchange of orders and test results with submitters 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LTs can access lab reports more quickly and through multiple pathways,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nabling faster public health action (e.g., case investigation, contact tracing) 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DC can access lab, case, and mortality data faster, enabling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obust situational awareness that informs decision-making across the nation</a:t>
              </a:r>
            </a:p>
            <a:p>
              <a:pPr marL="228600" marR="0" lvl="1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rgbClr val="000000"/>
                </a:buClr>
                <a:buSzPct val="110000"/>
                <a:buFont typeface="Wingdings" panose="05000000000000000000" pitchFamily="2" charset="2"/>
                <a:buChar char=""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LTs and CDC programs have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cess to more early warning signals from emergency departments 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EDs), with up to 80% participation by US non-federal EDs in the </a:t>
              </a:r>
              <a:r>
                <a: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srgbClr val="015CA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hlinkClick r:id="rId1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ational Syndromic Surveillance Program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(NSSP)</a:t>
              </a:r>
            </a:p>
          </p:txBody>
        </p:sp>
        <p:sp>
          <p:nvSpPr>
            <p:cNvPr id="36" name="4. Footnote">
              <a:extLst>
                <a:ext uri="{FF2B5EF4-FFF2-40B4-BE49-F238E27FC236}">
                  <a16:creationId xmlns:a16="http://schemas.microsoft.com/office/drawing/2014/main" id="{5CFE98A7-A285-DE62-54D8-0CFFC51FE1B2}"/>
                </a:ext>
              </a:extLst>
            </p:cNvPr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224214" y="6505803"/>
              <a:ext cx="11082528" cy="246221"/>
            </a:xfrm>
            <a:prstGeom prst="rect">
              <a:avLst/>
            </a:prstGeom>
            <a:noFill/>
            <a:ln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en-US"/>
              </a:defPPr>
              <a:lvl1pPr marL="203200" marR="0" lvl="0" indent="-212725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800">
                  <a:cs typeface="Arial" panose="020B0604020202020204" pitchFamily="34" charset="0"/>
                </a:defRPr>
              </a:lvl1pPr>
            </a:lstStyle>
            <a:p>
              <a:pPr marL="203200" marR="0" lvl="0" indent="-212725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.	Case (including electronic case reporting [</a:t>
              </a:r>
              <a:r>
                <a:rPr kumimoji="0" lang="en-US" sz="7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CR</a:t>
              </a:r>
              <a:r>
                <a:rPr kumimoji="0" lang="en-US" sz="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]), lab (including electronic lab reporting [ELR}, Electronic Test Orders and Results [ETOR]), emergency department (including National Syndromic Surveillance Program [NSSP] emergency department visit data), vital statistics, immunization, healthcare capacity (including National Healthcare Safety Network [NHSN] data)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EBA70B8-AE28-70DB-DA5F-DCCC190EBD9C}"/>
                </a:ext>
              </a:extLst>
            </p:cNvPr>
            <p:cNvSpPr txBox="1">
              <a:spLocks/>
            </p:cNvSpPr>
            <p:nvPr/>
          </p:nvSpPr>
          <p:spPr>
            <a:xfrm>
              <a:off x="3126262" y="824338"/>
              <a:ext cx="5842460" cy="21544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y the end of 2024, 2-year milestones strive to ensure…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FC60F48-0DA1-5DED-412C-0688A850947E}"/>
                </a:ext>
              </a:extLst>
            </p:cNvPr>
            <p:cNvSpPr txBox="1"/>
            <p:nvPr/>
          </p:nvSpPr>
          <p:spPr>
            <a:xfrm>
              <a:off x="3176" y="6162024"/>
              <a:ext cx="12192001" cy="276999"/>
            </a:xfrm>
            <a:prstGeom prst="rect">
              <a:avLst/>
            </a:prstGeom>
            <a:solidFill>
              <a:schemeClr val="accent1"/>
            </a:solidFill>
            <a:ln w="63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25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sym typeface=""/>
                </a:rPr>
                <a:t>Accomplishing the Public Health Data Goals requires collaboration and partnership with STLTs, healthcare partners, and other federal agenc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99217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Click="0"/>
    </mc:Choice>
    <mc:Fallback>
      <p:transition spd="slow"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51D7B663-3F36-DA89-E014-2E49B72EF4CA}"/>
              </a:ext>
            </a:extLst>
          </p:cNvPr>
          <p:cNvSpPr/>
          <p:nvPr/>
        </p:nvSpPr>
        <p:spPr>
          <a:xfrm>
            <a:off x="6286695" y="2493961"/>
            <a:ext cx="4206240" cy="91440"/>
          </a:xfrm>
          <a:prstGeom prst="rect">
            <a:avLst/>
          </a:prstGeom>
          <a:solidFill>
            <a:srgbClr val="BCD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 err="1">
              <a:solidFill>
                <a:schemeClr val="tx1"/>
              </a:solidFill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B7AFBB5-7E4F-C656-1930-8D58F9B110F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13652" y="574035"/>
            <a:ext cx="11095108" cy="69620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j-ea"/>
                <a:cs typeface="Arial Bold"/>
              </a:rPr>
              <a:t>PHDS Progress To-Date</a:t>
            </a:r>
            <a:r>
              <a:rPr lang="en-US" sz="2800">
                <a:ln>
                  <a:noFill/>
                </a:ln>
                <a:latin typeface="Arial" panose="020B0604020202020204"/>
                <a:cs typeface="Arial Bold"/>
              </a:rPr>
              <a:t> (1 of 2)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j-ea"/>
              <a:cs typeface="Arial Bold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52D550F-F007-203C-5F71-AC3E71D7D6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69976" y="278410"/>
            <a:ext cx="731520" cy="9144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85CBCF-C6FA-5BD5-8FBB-25B844C8C7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0432" y="265074"/>
            <a:ext cx="1046747" cy="118112"/>
          </a:xfrm>
          <a:prstGeom prst="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0067D4-6E9D-5462-D49A-2357A781C9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72800" y="2650"/>
            <a:ext cx="290400" cy="465600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F437B4-E76D-8109-AE63-DB9D125122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1374" y="339146"/>
            <a:ext cx="1096302" cy="8570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EAD2D18-E218-068B-2942-12A9A43FE38B}"/>
              </a:ext>
            </a:extLst>
          </p:cNvPr>
          <p:cNvGrpSpPr/>
          <p:nvPr/>
        </p:nvGrpSpPr>
        <p:grpSpPr>
          <a:xfrm>
            <a:off x="1717676" y="2667001"/>
            <a:ext cx="2938782" cy="2370546"/>
            <a:chOff x="4031360" y="1356578"/>
            <a:chExt cx="2938782" cy="237054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EFBBF82-FB55-E951-607C-10D5D80FE809}"/>
                </a:ext>
              </a:extLst>
            </p:cNvPr>
            <p:cNvSpPr/>
            <p:nvPr/>
          </p:nvSpPr>
          <p:spPr>
            <a:xfrm>
              <a:off x="4031362" y="1840515"/>
              <a:ext cx="2926080" cy="369332"/>
            </a:xfrm>
            <a:prstGeom prst="rect">
              <a:avLst/>
            </a:prstGeom>
            <a:solidFill>
              <a:srgbClr val="BCD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400" b="1" spc="30">
                  <a:solidFill>
                    <a:schemeClr val="tx1"/>
                  </a:solidFill>
                  <a:ea typeface="Neue Haas Grotesk Display Std 55 Roman" charset="0"/>
                  <a:cs typeface="Neue Haas Grotesk Display Std 55 Roman" charset="0"/>
                </a:rPr>
                <a:t>PHDS Goals (4)</a:t>
              </a:r>
              <a:endParaRPr lang="en-US" sz="1400" b="1" i="0" spc="30" baseline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2F15AD5-08DD-B57E-8B14-E5393268F131}"/>
                </a:ext>
              </a:extLst>
            </p:cNvPr>
            <p:cNvSpPr/>
            <p:nvPr/>
          </p:nvSpPr>
          <p:spPr>
            <a:xfrm>
              <a:off x="4031362" y="2343682"/>
              <a:ext cx="2926080" cy="369332"/>
            </a:xfrm>
            <a:prstGeom prst="rect">
              <a:avLst/>
            </a:prstGeom>
            <a:solidFill>
              <a:srgbClr val="BCD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400" b="1" i="0" spc="30" baseline="0">
                  <a:solidFill>
                    <a:schemeClr val="tx1"/>
                  </a:solidFill>
                  <a:latin typeface="+mn-lt"/>
                  <a:ea typeface="Neue Haas Grotesk Display Std 55 Roman" charset="0"/>
                  <a:cs typeface="Neue Haas Grotesk Display Std 55 Roman" charset="0"/>
                </a:rPr>
                <a:t>Milestones (15)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28F87F-FF91-964A-85C0-81E091488433}"/>
                </a:ext>
              </a:extLst>
            </p:cNvPr>
            <p:cNvSpPr/>
            <p:nvPr/>
          </p:nvSpPr>
          <p:spPr>
            <a:xfrm>
              <a:off x="4031361" y="2854625"/>
              <a:ext cx="2926080" cy="369332"/>
            </a:xfrm>
            <a:prstGeom prst="rect">
              <a:avLst/>
            </a:prstGeom>
            <a:solidFill>
              <a:srgbClr val="BCD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400" b="1" spc="30">
                  <a:solidFill>
                    <a:schemeClr val="tx1"/>
                  </a:solidFill>
                  <a:ea typeface="Neue Haas Grotesk Display Std 55 Roman" charset="0"/>
                  <a:cs typeface="Neue Haas Grotesk Display Std 55 Roman" charset="0"/>
                </a:rPr>
                <a:t>Critical Activities* (80)</a:t>
              </a:r>
              <a:endParaRPr lang="en-US" sz="1400" b="1" i="0" spc="30" baseline="0">
                <a:solidFill>
                  <a:schemeClr val="tx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16BD098-4B3D-1E07-23B2-C8054C1D992A}"/>
                </a:ext>
              </a:extLst>
            </p:cNvPr>
            <p:cNvSpPr/>
            <p:nvPr/>
          </p:nvSpPr>
          <p:spPr>
            <a:xfrm>
              <a:off x="4031361" y="3357792"/>
              <a:ext cx="2926080" cy="369332"/>
            </a:xfrm>
            <a:prstGeom prst="rect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400" b="1" spc="30">
                  <a:solidFill>
                    <a:schemeClr val="bg1"/>
                  </a:solidFill>
                  <a:ea typeface="Neue Haas Grotesk Display Std 55 Roman" charset="0"/>
                  <a:cs typeface="Neue Haas Grotesk Display Std 55 Roman" charset="0"/>
                </a:rPr>
                <a:t>Performance Measures</a:t>
              </a:r>
              <a:endParaRPr lang="en-US" sz="1400" b="1" i="0" spc="30" baseline="0">
                <a:solidFill>
                  <a:schemeClr val="bg1"/>
                </a:solidFill>
                <a:latin typeface="+mn-lt"/>
                <a:ea typeface="Neue Haas Grotesk Display Std 55 Roman" charset="0"/>
                <a:cs typeface="Neue Haas Grotesk Display Std 55 Roman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C510FFC-55BA-A02D-CFA3-BEB6392B0110}"/>
                </a:ext>
              </a:extLst>
            </p:cNvPr>
            <p:cNvSpPr/>
            <p:nvPr/>
          </p:nvSpPr>
          <p:spPr>
            <a:xfrm>
              <a:off x="4031361" y="1356578"/>
              <a:ext cx="2926080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400" b="1" i="0" spc="30" baseline="0">
                  <a:solidFill>
                    <a:schemeClr val="tx1"/>
                  </a:solidFill>
                  <a:latin typeface="+mn-lt"/>
                  <a:ea typeface="Neue Haas Grotesk Display Std 55 Roman" charset="0"/>
                  <a:cs typeface="Neue Haas Grotesk Display Std 55 Roman" charset="0"/>
                </a:rPr>
                <a:t>OPHDST Mission</a:t>
              </a:r>
            </a:p>
          </p:txBody>
        </p: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6700545A-D726-29ED-14D1-24BFF8737C6E}"/>
                </a:ext>
              </a:extLst>
            </p:cNvPr>
            <p:cNvCxnSpPr>
              <a:stCxn id="9" idx="1"/>
              <a:endCxn id="8" idx="1"/>
            </p:cNvCxnSpPr>
            <p:nvPr/>
          </p:nvCxnSpPr>
          <p:spPr>
            <a:xfrm rot="10800000">
              <a:off x="4031361" y="3039292"/>
              <a:ext cx="12700" cy="503167"/>
            </a:xfrm>
            <a:prstGeom prst="bentConnector3">
              <a:avLst>
                <a:gd name="adj1" fmla="val 1875000"/>
              </a:avLst>
            </a:prstGeom>
            <a:ln w="19050">
              <a:solidFill>
                <a:srgbClr val="4472C4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C2151D27-F5C4-5224-1BF0-73E73E427D8B}"/>
                </a:ext>
              </a:extLst>
            </p:cNvPr>
            <p:cNvCxnSpPr>
              <a:stCxn id="9" idx="1"/>
              <a:endCxn id="7" idx="1"/>
            </p:cNvCxnSpPr>
            <p:nvPr/>
          </p:nvCxnSpPr>
          <p:spPr>
            <a:xfrm rot="10800000" flipH="1">
              <a:off x="4031360" y="2528348"/>
              <a:ext cx="1" cy="1014110"/>
            </a:xfrm>
            <a:prstGeom prst="bentConnector3">
              <a:avLst>
                <a:gd name="adj1" fmla="val -22860000000"/>
              </a:avLst>
            </a:prstGeom>
            <a:ln w="19050">
              <a:solidFill>
                <a:srgbClr val="4472C4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88BB3AD7-1927-2FC2-5C8A-5884BF083311}"/>
                </a:ext>
              </a:extLst>
            </p:cNvPr>
            <p:cNvCxnSpPr>
              <a:stCxn id="9" idx="1"/>
              <a:endCxn id="6" idx="1"/>
            </p:cNvCxnSpPr>
            <p:nvPr/>
          </p:nvCxnSpPr>
          <p:spPr>
            <a:xfrm rot="10800000" flipH="1">
              <a:off x="4031360" y="2025182"/>
              <a:ext cx="1" cy="1517277"/>
            </a:xfrm>
            <a:prstGeom prst="bentConnector3">
              <a:avLst>
                <a:gd name="adj1" fmla="val -22860000000"/>
              </a:avLst>
            </a:prstGeom>
            <a:ln w="19050">
              <a:solidFill>
                <a:srgbClr val="4472C4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6224F043-C043-E6CC-B0FE-51D5FE960DDA}"/>
                </a:ext>
              </a:extLst>
            </p:cNvPr>
            <p:cNvCxnSpPr>
              <a:stCxn id="6" idx="3"/>
              <a:endCxn id="9" idx="3"/>
            </p:cNvCxnSpPr>
            <p:nvPr/>
          </p:nvCxnSpPr>
          <p:spPr>
            <a:xfrm flipH="1">
              <a:off x="6957441" y="2025181"/>
              <a:ext cx="1" cy="1517277"/>
            </a:xfrm>
            <a:prstGeom prst="bentConnector3">
              <a:avLst>
                <a:gd name="adj1" fmla="val -22860000000"/>
              </a:avLst>
            </a:prstGeom>
            <a:ln w="19050">
              <a:solidFill>
                <a:srgbClr val="BCDFFF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or: Elbow 23">
              <a:extLst>
                <a:ext uri="{FF2B5EF4-FFF2-40B4-BE49-F238E27FC236}">
                  <a16:creationId xmlns:a16="http://schemas.microsoft.com/office/drawing/2014/main" id="{C035A480-55A0-0B92-9882-D17583C7B8FA}"/>
                </a:ext>
              </a:extLst>
            </p:cNvPr>
            <p:cNvCxnSpPr>
              <a:stCxn id="6" idx="3"/>
              <a:endCxn id="8" idx="3"/>
            </p:cNvCxnSpPr>
            <p:nvPr/>
          </p:nvCxnSpPr>
          <p:spPr>
            <a:xfrm flipH="1">
              <a:off x="6957441" y="2025181"/>
              <a:ext cx="1" cy="1014110"/>
            </a:xfrm>
            <a:prstGeom prst="bentConnector3">
              <a:avLst>
                <a:gd name="adj1" fmla="val -22860000000"/>
              </a:avLst>
            </a:prstGeom>
            <a:ln w="19050">
              <a:solidFill>
                <a:srgbClr val="BCDFFF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Elbow 24">
              <a:extLst>
                <a:ext uri="{FF2B5EF4-FFF2-40B4-BE49-F238E27FC236}">
                  <a16:creationId xmlns:a16="http://schemas.microsoft.com/office/drawing/2014/main" id="{BF841030-FC8E-910A-6F08-6DA028FF8740}"/>
                </a:ext>
              </a:extLst>
            </p:cNvPr>
            <p:cNvCxnSpPr>
              <a:stCxn id="6" idx="3"/>
              <a:endCxn id="7" idx="3"/>
            </p:cNvCxnSpPr>
            <p:nvPr/>
          </p:nvCxnSpPr>
          <p:spPr>
            <a:xfrm>
              <a:off x="6957442" y="2025181"/>
              <a:ext cx="12700" cy="503167"/>
            </a:xfrm>
            <a:prstGeom prst="bentConnector3">
              <a:avLst>
                <a:gd name="adj1" fmla="val 1800000"/>
              </a:avLst>
            </a:prstGeom>
            <a:ln w="19050">
              <a:solidFill>
                <a:srgbClr val="BCDFFF"/>
              </a:solidFill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C04EC5E9-3348-CF6F-EDAF-7793F73ECA64}"/>
              </a:ext>
            </a:extLst>
          </p:cNvPr>
          <p:cNvSpPr txBox="1"/>
          <p:nvPr/>
        </p:nvSpPr>
        <p:spPr>
          <a:xfrm>
            <a:off x="6286696" y="2217803"/>
            <a:ext cx="4314629" cy="286099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r>
              <a:rPr lang="en-US" sz="1600" b="1" i="0" spc="30" baseline="0">
                <a:latin typeface="+mn-lt"/>
                <a:ea typeface="Neue Haas Grotesk Display Std 55 Roman" charset="0"/>
                <a:cs typeface="Neue Haas Grotesk Display Std 55 Roman" charset="0"/>
              </a:rPr>
              <a:t>PROGRESS TO-DATE (SINCE APRIL 2023):</a:t>
            </a:r>
          </a:p>
          <a:p>
            <a:endParaRPr lang="en-US" sz="600" spc="30">
              <a:ea typeface="Neue Haas Grotesk Display Std 55 Roman" charset="0"/>
              <a:cs typeface="Neue Haas Grotesk Display Std 55 Roman" charset="0"/>
            </a:endParaRPr>
          </a:p>
          <a:p>
            <a:endParaRPr lang="en-US" sz="1400" spc="30">
              <a:ea typeface="Neue Haas Grotesk Display Std 55 Roman" charset="0"/>
              <a:cs typeface="Neue Haas Grotesk Display Std 55 Roman" charset="0"/>
            </a:endParaRPr>
          </a:p>
          <a:p>
            <a:r>
              <a:rPr lang="en-US" sz="2000" b="1" i="0" spc="30" baseline="0">
                <a:solidFill>
                  <a:srgbClr val="4472C4"/>
                </a:solidFill>
                <a:latin typeface="+mn-lt"/>
                <a:ea typeface="Neue Haas Grotesk Display Std 55 Roman" charset="0"/>
                <a:cs typeface="Neue Haas Grotesk Display Std 55 Roman" charset="0"/>
              </a:rPr>
              <a:t>1</a:t>
            </a:r>
            <a:r>
              <a:rPr lang="en-US" sz="1600" b="1" i="0" spc="30" baseline="0">
                <a:latin typeface="+mn-lt"/>
                <a:ea typeface="Neue Haas Grotesk Display Std 55 Roman" charset="0"/>
                <a:cs typeface="Neue Haas Grotesk Display Std 55 Roman" charset="0"/>
              </a:rPr>
              <a:t> </a:t>
            </a:r>
            <a:r>
              <a:rPr lang="en-US" sz="1600" i="0" spc="30" baseline="0">
                <a:latin typeface="+mn-lt"/>
                <a:ea typeface="Neue Haas Grotesk Display Std 55 Roman" charset="0"/>
                <a:cs typeface="Neue Haas Grotesk Display Std 55 Roman" charset="0"/>
              </a:rPr>
              <a:t>completed mileston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spc="30">
                <a:ea typeface="Neue Haas Grotesk Display Std 55 Roman" charset="0"/>
                <a:cs typeface="Neue Haas Grotesk Display Std 55 Roman" charset="0"/>
              </a:rPr>
              <a:t>As of June 23, 2023, 25.1% (342/1,360) of critical </a:t>
            </a:r>
          </a:p>
          <a:p>
            <a:r>
              <a:rPr lang="en-US" sz="1200" spc="30">
                <a:ea typeface="Neue Haas Grotesk Display Std 55 Roman" charset="0"/>
                <a:cs typeface="Neue Haas Grotesk Display Std 55 Roman" charset="0"/>
              </a:rPr>
              <a:t>access hospitals have implemented </a:t>
            </a:r>
            <a:r>
              <a:rPr lang="en-US" sz="1200" spc="30" err="1">
                <a:ea typeface="Neue Haas Grotesk Display Std 55 Roman" charset="0"/>
                <a:cs typeface="Neue Haas Grotesk Display Std 55 Roman" charset="0"/>
              </a:rPr>
              <a:t>eCR</a:t>
            </a:r>
            <a:endParaRPr lang="en-US" sz="1200" spc="30">
              <a:ea typeface="Neue Haas Grotesk Display Std 55 Roman" charset="0"/>
              <a:cs typeface="Neue Haas Grotesk Display Std 55 Roman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spc="30">
              <a:ea typeface="Neue Haas Grotesk Display Std 55 Roman" charset="0"/>
              <a:cs typeface="Neue Haas Grotesk Display Std 55 Roman" charset="0"/>
            </a:endParaRPr>
          </a:p>
          <a:p>
            <a:r>
              <a:rPr lang="en-US" sz="2000" b="1" spc="30">
                <a:solidFill>
                  <a:srgbClr val="4472C4"/>
                </a:solidFill>
              </a:rPr>
              <a:t>17</a:t>
            </a:r>
            <a:r>
              <a:rPr lang="en-US" sz="1600" b="1" i="0" spc="30" baseline="0">
                <a:latin typeface="+mn-lt"/>
                <a:ea typeface="Neue Haas Grotesk Display Std 55 Roman" charset="0"/>
                <a:cs typeface="Neue Haas Grotesk Display Std 55 Roman" charset="0"/>
              </a:rPr>
              <a:t> </a:t>
            </a:r>
            <a:r>
              <a:rPr lang="en-US" sz="1600" i="0" spc="30" baseline="0">
                <a:latin typeface="+mn-lt"/>
                <a:ea typeface="Neue Haas Grotesk Display Std 55 Roman" charset="0"/>
                <a:cs typeface="Neue Haas Grotesk Display Std 55 Roman" charset="0"/>
              </a:rPr>
              <a:t>critical activities completed</a:t>
            </a:r>
          </a:p>
          <a:p>
            <a:endParaRPr lang="en-US" sz="1600" b="0" i="0" spc="30" baseline="0">
              <a:latin typeface="+mn-lt"/>
              <a:ea typeface="Neue Haas Grotesk Display Std 55 Roman" charset="0"/>
              <a:cs typeface="Neue Haas Grotesk Display Std 55 Roman" charset="0"/>
            </a:endParaRPr>
          </a:p>
          <a:p>
            <a:endParaRPr lang="en-US" sz="1600" b="0" i="0" spc="30" baseline="0">
              <a:latin typeface="+mn-lt"/>
              <a:ea typeface="Neue Haas Grotesk Display Std 55 Roman" charset="0"/>
              <a:cs typeface="Neue Haas Grotesk Display Std 55 Roman" charset="0"/>
            </a:endParaRPr>
          </a:p>
          <a:p>
            <a:r>
              <a:rPr lang="en-US" sz="2000" b="1" spc="30">
                <a:solidFill>
                  <a:srgbClr val="4472C4"/>
                </a:solidFill>
              </a:rPr>
              <a:t>30</a:t>
            </a:r>
            <a:r>
              <a:rPr lang="en-US" sz="1600" b="1" i="0" spc="30" baseline="0">
                <a:latin typeface="+mn-lt"/>
                <a:ea typeface="Neue Haas Grotesk Display Std 55 Roman" charset="0"/>
                <a:cs typeface="Neue Haas Grotesk Display Std 55 Roman" charset="0"/>
              </a:rPr>
              <a:t> </a:t>
            </a:r>
            <a:r>
              <a:rPr lang="en-US" sz="1600" i="0" spc="30" baseline="0">
                <a:latin typeface="+mn-lt"/>
                <a:ea typeface="Neue Haas Grotesk Display Std 55 Roman" charset="0"/>
                <a:cs typeface="Neue Haas Grotesk Display Std 55 Roman" charset="0"/>
              </a:rPr>
              <a:t>critical activities in progre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spc="30">
                <a:ea typeface="Neue Haas Grotesk Display Std 55 Roman" charset="0"/>
                <a:cs typeface="Neue Haas Grotesk Display Std 55 Roman" charset="0"/>
              </a:rPr>
              <a:t>9 critical activities due between Sept – Dec 2023</a:t>
            </a:r>
            <a:endParaRPr lang="en-US" sz="1200" b="0" i="0" spc="30" baseline="0">
              <a:latin typeface="+mn-lt"/>
              <a:ea typeface="Neue Haas Grotesk Display Std 55 Roman" charset="0"/>
              <a:cs typeface="Neue Haas Grotesk Display Std 55 Roman" charset="0"/>
            </a:endParaRPr>
          </a:p>
          <a:p>
            <a:endParaRPr lang="en-US" sz="1200" b="0" i="0" spc="30" baseline="0">
              <a:latin typeface="+mn-lt"/>
              <a:ea typeface="Neue Haas Grotesk Display Std 55 Roman" charset="0"/>
              <a:cs typeface="Neue Haas Grotesk Display Std 55 Roman" charset="0"/>
            </a:endParaRPr>
          </a:p>
          <a:p>
            <a:endParaRPr lang="en-US" sz="1600" b="0" i="0" spc="30" baseline="0"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BE8917A-CBDA-AED5-F44E-ABBF0714BB8C}"/>
              </a:ext>
            </a:extLst>
          </p:cNvPr>
          <p:cNvSpPr txBox="1"/>
          <p:nvPr/>
        </p:nvSpPr>
        <p:spPr>
          <a:xfrm>
            <a:off x="1476179" y="2217803"/>
            <a:ext cx="2864679" cy="2860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600" b="1" i="0" spc="30" baseline="0">
                <a:latin typeface="+mn-lt"/>
                <a:ea typeface="Neue Haas Grotesk Display Std 55 Roman" charset="0"/>
                <a:cs typeface="Neue Haas Grotesk Display Std 55 Roman" charset="0"/>
              </a:rPr>
              <a:t>CASCADE OF ELEMENTS</a:t>
            </a:r>
          </a:p>
          <a:p>
            <a:endParaRPr lang="en-US" sz="1600" b="0" i="0" spc="30" baseline="0"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88245C-8ADF-E0BE-96AA-3C98AE968592}"/>
              </a:ext>
            </a:extLst>
          </p:cNvPr>
          <p:cNvSpPr txBox="1"/>
          <p:nvPr/>
        </p:nvSpPr>
        <p:spPr>
          <a:xfrm>
            <a:off x="193082" y="6254372"/>
            <a:ext cx="116701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 spc="30"/>
              <a:t>(*) </a:t>
            </a:r>
            <a:r>
              <a:rPr lang="en-US" sz="1400" i="1" spc="30"/>
              <a:t>Number of activities may change overtime, as tracking and reporting across workstreams improve</a:t>
            </a:r>
            <a:endParaRPr lang="en-US" sz="1600" i="1"/>
          </a:p>
        </p:txBody>
      </p:sp>
    </p:spTree>
    <p:extLst>
      <p:ext uri="{BB962C8B-B14F-4D97-AF65-F5344CB8AC3E}">
        <p14:creationId xmlns:p14="http://schemas.microsoft.com/office/powerpoint/2010/main" val="2678279329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B7AFBB5-7E4F-C656-1930-8D58F9B110F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13652" y="574035"/>
            <a:ext cx="11095108" cy="69620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/>
                <a:ea typeface="+mj-ea"/>
                <a:cs typeface="Arial Bold"/>
              </a:rPr>
              <a:t>PHDS Progress To-Date (</a:t>
            </a:r>
            <a:r>
              <a:rPr lang="en-US" sz="2800">
                <a:ln>
                  <a:noFill/>
                </a:ln>
                <a:latin typeface="Arial" panose="020B0604020202020204"/>
                <a:cs typeface="Arial Bold"/>
              </a:rPr>
              <a:t>2 of 2)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/>
              <a:ea typeface="+mj-ea"/>
              <a:cs typeface="Arial Bold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52D550F-F007-203C-5F71-AC3E71D7D6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69976" y="278410"/>
            <a:ext cx="731520" cy="9144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85CBCF-C6FA-5BD5-8FBB-25B844C8C7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0432" y="265074"/>
            <a:ext cx="1046747" cy="118112"/>
          </a:xfrm>
          <a:prstGeom prst="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0067D4-6E9D-5462-D49A-2357A781C9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72800" y="2650"/>
            <a:ext cx="290400" cy="465600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F437B4-E76D-8109-AE63-DB9D125122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1374" y="339146"/>
            <a:ext cx="1096302" cy="8570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4" name="Table 8">
            <a:extLst>
              <a:ext uri="{FF2B5EF4-FFF2-40B4-BE49-F238E27FC236}">
                <a16:creationId xmlns:a16="http://schemas.microsoft.com/office/drawing/2014/main" id="{60DFC0D1-9356-FCF7-DFF6-75EAEDD413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7579810"/>
              </p:ext>
            </p:extLst>
          </p:nvPr>
        </p:nvGraphicFramePr>
        <p:xfrm>
          <a:off x="621374" y="2145101"/>
          <a:ext cx="11095109" cy="3594491"/>
        </p:xfrm>
        <a:graphic>
          <a:graphicData uri="http://schemas.openxmlformats.org/drawingml/2006/table">
            <a:tbl>
              <a:tblPr firstRow="1" bandRow="1"/>
              <a:tblGrid>
                <a:gridCol w="2661361">
                  <a:extLst>
                    <a:ext uri="{9D8B030D-6E8A-4147-A177-3AD203B41FA5}">
                      <a16:colId xmlns:a16="http://schemas.microsoft.com/office/drawing/2014/main" val="1419406517"/>
                    </a:ext>
                  </a:extLst>
                </a:gridCol>
                <a:gridCol w="6629713">
                  <a:extLst>
                    <a:ext uri="{9D8B030D-6E8A-4147-A177-3AD203B41FA5}">
                      <a16:colId xmlns:a16="http://schemas.microsoft.com/office/drawing/2014/main" val="3248138091"/>
                    </a:ext>
                  </a:extLst>
                </a:gridCol>
                <a:gridCol w="1804035">
                  <a:extLst>
                    <a:ext uri="{9D8B030D-6E8A-4147-A177-3AD203B41FA5}">
                      <a16:colId xmlns:a16="http://schemas.microsoft.com/office/drawing/2014/main" val="2561675013"/>
                    </a:ext>
                  </a:extLst>
                </a:gridCol>
              </a:tblGrid>
              <a:tr h="3356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600">
                          <a:latin typeface="Arial"/>
                          <a:cs typeface="Calibri"/>
                        </a:rPr>
                        <a:t>Project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600">
                          <a:latin typeface="Arial"/>
                          <a:cs typeface="Calibri"/>
                        </a:rPr>
                        <a:t>Activity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/>
                      <a:r>
                        <a:rPr lang="en-US" sz="1600">
                          <a:latin typeface="Arial"/>
                          <a:cs typeface="Calibri"/>
                        </a:rPr>
                        <a:t>Due Date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068223"/>
                  </a:ext>
                </a:extLst>
              </a:tr>
              <a:tr h="7753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Calibri"/>
                        </a:rPr>
                        <a:t>DMI Analytics: SET-NET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Calibri"/>
                        </a:rPr>
                        <a:t>Route data from SAMS SDX to Enterprise Data Analytics &amp; Visualization platform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Calibri"/>
                        </a:rPr>
                        <a:t> September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943438"/>
                  </a:ext>
                </a:extLst>
              </a:tr>
              <a:tr h="9327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>
                        <a:buNone/>
                      </a:pPr>
                      <a:r>
                        <a:rPr lang="en-US" sz="1600" b="0" i="0" u="none" strike="noStrike" kern="1200" noProof="0">
                          <a:solidFill>
                            <a:schemeClr val="dk1"/>
                          </a:solidFill>
                          <a:latin typeface="Arial"/>
                        </a:rPr>
                        <a:t>STLT Data Sharing</a:t>
                      </a:r>
                      <a:endParaRPr lang="en-US" sz="1600">
                        <a:latin typeface="Arial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>
                        <a:buNone/>
                      </a:pPr>
                      <a:r>
                        <a:rPr lang="en-US" sz="1600" b="0" i="0" u="none" strike="noStrike" kern="1200" noProof="0">
                          <a:latin typeface="Arial"/>
                        </a:rPr>
                        <a:t>Engage pilot jurisdictions on reviewing the Shared Validation and Power BI Jurisdictional proof of concepts</a:t>
                      </a:r>
                      <a:endParaRPr lang="en-US" sz="1600">
                        <a:latin typeface="Arial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>
                        <a:buNone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Calibri"/>
                        </a:rPr>
                        <a:t> September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5934736"/>
                  </a:ext>
                </a:extLst>
              </a:tr>
              <a:tr h="7753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>
                        <a:buNone/>
                      </a:pPr>
                      <a:r>
                        <a:rPr lang="en-US" sz="1600" b="0" i="0" u="none" strike="noStrike" kern="1200" noProof="0">
                          <a:solidFill>
                            <a:schemeClr val="dk1"/>
                          </a:solidFill>
                          <a:latin typeface="Arial"/>
                        </a:rPr>
                        <a:t>DMI Program Enabler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>
                        <a:buNone/>
                      </a:pPr>
                      <a:r>
                        <a:rPr lang="en-US" sz="1600" b="0" i="0" u="none" strike="noStrike" kern="1200" noProof="0">
                          <a:latin typeface="Arial"/>
                        </a:rPr>
                        <a:t>Implement a Service Level Agreement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>
                        <a:buNone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Calibri"/>
                        </a:rPr>
                        <a:t>September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895972"/>
                  </a:ext>
                </a:extLst>
              </a:tr>
              <a:tr h="7753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>
                        <a:buNone/>
                      </a:pPr>
                      <a:r>
                        <a:rPr lang="en-US" sz="1600" b="0" i="0" u="none" strike="noStrike" kern="1200" noProof="0">
                          <a:solidFill>
                            <a:schemeClr val="dk1"/>
                          </a:solidFill>
                          <a:latin typeface="Arial"/>
                        </a:rPr>
                        <a:t>PH TEFCA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>
                        <a:buNone/>
                      </a:pPr>
                      <a:r>
                        <a:rPr lang="en-US" sz="1600" b="0" i="0" u="none" strike="noStrike" kern="1200" noProof="0">
                          <a:latin typeface="Arial"/>
                        </a:rPr>
                        <a:t>Assess, Engage, and Finalize a QHIN Partner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lvl="0" algn="l">
                        <a:buNone/>
                      </a:pPr>
                      <a:r>
                        <a:rPr lang="en-US" sz="1600" kern="120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Calibri"/>
                        </a:rPr>
                        <a:t>December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4907293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563DA0AA-6DC4-BD7F-0150-B8887657CDE1}"/>
              </a:ext>
            </a:extLst>
          </p:cNvPr>
          <p:cNvSpPr txBox="1"/>
          <p:nvPr/>
        </p:nvSpPr>
        <p:spPr>
          <a:xfrm>
            <a:off x="513652" y="1695668"/>
            <a:ext cx="3428999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prstClr val="black"/>
                </a:solidFill>
                <a:latin typeface="+mj-lt"/>
                <a:cs typeface="Calibri"/>
              </a:rPr>
              <a:t>Sample Critical Activities</a:t>
            </a:r>
          </a:p>
        </p:txBody>
      </p:sp>
    </p:spTree>
    <p:extLst>
      <p:ext uri="{BB962C8B-B14F-4D97-AF65-F5344CB8AC3E}">
        <p14:creationId xmlns:p14="http://schemas.microsoft.com/office/powerpoint/2010/main" val="2985194141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B7AFBB5-7E4F-C656-1930-8D58F9B110F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13652" y="574035"/>
            <a:ext cx="11095108" cy="69620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 Bold" charset="0"/>
              </a:rPr>
              <a:t>Dr. Cohen’s Priorities and How OPHDST is Support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52D550F-F007-203C-5F71-AC3E71D7D6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69976" y="278410"/>
            <a:ext cx="731520" cy="9144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85CBCF-C6FA-5BD5-8FBB-25B844C8C7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0432" y="265074"/>
            <a:ext cx="1046747" cy="118112"/>
          </a:xfrm>
          <a:prstGeom prst="rect">
            <a:avLst/>
          </a:prstGeom>
          <a:solidFill>
            <a:srgbClr val="FFFF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0067D4-6E9D-5462-D49A-2357A781C9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572800" y="2650"/>
            <a:ext cx="290400" cy="465600"/>
          </a:xfrm>
          <a:prstGeom prst="rect">
            <a:avLst/>
          </a:prstGeom>
          <a:solidFill>
            <a:srgbClr val="E617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EF437B4-E76D-8109-AE63-DB9D125122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1374" y="339146"/>
            <a:ext cx="1096302" cy="8570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764867D5-6E53-7223-D23E-06620D3926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5562095"/>
              </p:ext>
            </p:extLst>
          </p:nvPr>
        </p:nvGraphicFramePr>
        <p:xfrm>
          <a:off x="1088965" y="1853368"/>
          <a:ext cx="10024905" cy="2624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1C361FD-95F1-5FC1-BC46-C42C0B1A5914}"/>
              </a:ext>
            </a:extLst>
          </p:cNvPr>
          <p:cNvSpPr txBox="1"/>
          <p:nvPr/>
        </p:nvSpPr>
        <p:spPr>
          <a:xfrm>
            <a:off x="1078130" y="4690196"/>
            <a:ext cx="320207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/>
              <a:t>OPHDST is working on visualizations through dashboard developmen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06B83B-A692-6DF9-A9B8-1753FAB82244}"/>
              </a:ext>
            </a:extLst>
          </p:cNvPr>
          <p:cNvSpPr txBox="1"/>
          <p:nvPr/>
        </p:nvSpPr>
        <p:spPr>
          <a:xfrm>
            <a:off x="7911797" y="4690196"/>
            <a:ext cx="31912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/>
              <a:t>OPHDST submitted three initiatives for consideration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9884A522-CE66-9556-80FB-E7FD3A3C2CF2}"/>
              </a:ext>
            </a:extLst>
          </p:cNvPr>
          <p:cNvSpPr/>
          <p:nvPr/>
        </p:nvSpPr>
        <p:spPr>
          <a:xfrm rot="10800000">
            <a:off x="1497179" y="4227851"/>
            <a:ext cx="2085975" cy="32460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 err="1">
              <a:solidFill>
                <a:schemeClr val="tx1"/>
              </a:solidFill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85FA08D7-236B-6678-82A6-6DD3896BB953}"/>
              </a:ext>
            </a:extLst>
          </p:cNvPr>
          <p:cNvSpPr/>
          <p:nvPr/>
        </p:nvSpPr>
        <p:spPr>
          <a:xfrm rot="10800000">
            <a:off x="8456444" y="4227851"/>
            <a:ext cx="2085975" cy="324605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 err="1">
              <a:solidFill>
                <a:schemeClr val="tx1"/>
              </a:solidFill>
              <a:latin typeface="+mn-lt"/>
              <a:ea typeface="Neue Haas Grotesk Display Std 55 Roman" charset="0"/>
              <a:cs typeface="Neue Haas Grotesk Display Std 55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3733343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Vertica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uidehouse Haas Standard">
  <a:themeElements>
    <a:clrScheme name="Guidehouse Inc">
      <a:dk1>
        <a:srgbClr val="000000"/>
      </a:dk1>
      <a:lt1>
        <a:srgbClr val="FFFFFF"/>
      </a:lt1>
      <a:dk2>
        <a:srgbClr val="000000"/>
      </a:dk2>
      <a:lt2>
        <a:srgbClr val="E0E0E0"/>
      </a:lt2>
      <a:accent1>
        <a:srgbClr val="93D500"/>
      </a:accent1>
      <a:accent2>
        <a:srgbClr val="BAE30B"/>
      </a:accent2>
      <a:accent3>
        <a:srgbClr val="FAB428"/>
      </a:accent3>
      <a:accent4>
        <a:srgbClr val="FADC33"/>
      </a:accent4>
      <a:accent5>
        <a:srgbClr val="1F54CC"/>
      </a:accent5>
      <a:accent6>
        <a:srgbClr val="53575A"/>
      </a:accent6>
      <a:hlink>
        <a:srgbClr val="000000"/>
      </a:hlink>
      <a:folHlink>
        <a:srgbClr val="A5A5A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 anchorCtr="0"/>
      <a:lstStyle>
        <a:defPPr algn="l">
          <a:defRPr sz="1600" b="0" i="0" spc="30" baseline="0" dirty="0" err="1" smtClean="0">
            <a:solidFill>
              <a:schemeClr val="tx1"/>
            </a:solidFill>
            <a:latin typeface="+mn-lt"/>
            <a:ea typeface="Neue Haas Grotesk Display Std 55 Roman" charset="0"/>
            <a:cs typeface="Neue Haas Grotesk Display Std 55 Roman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b="0" i="0" spc="30" baseline="0" dirty="0" err="1" smtClean="0">
            <a:latin typeface="+mn-lt"/>
            <a:ea typeface="Neue Haas Grotesk Display Std 55 Roman" charset="0"/>
            <a:cs typeface="Neue Haas Grotesk Display Std 55 Roman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H Template_sd_arial_2019_v1" id="{AB6880F4-A4E3-4A32-9AC6-830BB87B4F13}" vid="{56A737F7-C82B-428B-B60E-3715ED139B22}"/>
    </a:ext>
  </a:extLst>
</a:theme>
</file>

<file path=ppt/theme/theme3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15CAC"/>
      </a:accent1>
      <a:accent2>
        <a:srgbClr val="00A0C2"/>
      </a:accent2>
      <a:accent3>
        <a:srgbClr val="2A2D43"/>
      </a:accent3>
      <a:accent4>
        <a:srgbClr val="BCD6EE"/>
      </a:accent4>
      <a:accent5>
        <a:srgbClr val="E6172B"/>
      </a:accent5>
      <a:accent6>
        <a:srgbClr val="A5A9C7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15CAC"/>
        </a:accent1>
        <a:accent2>
          <a:srgbClr val="00A0C2"/>
        </a:accent2>
        <a:accent3>
          <a:srgbClr val="2A2D43"/>
        </a:accent3>
        <a:accent4>
          <a:srgbClr val="BCD6EE"/>
        </a:accent4>
        <a:accent5>
          <a:srgbClr val="E6172B"/>
        </a:accent5>
        <a:accent6>
          <a:srgbClr val="A5A9C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496_OFF.potx" id="{4D2D1560-DFB0-4C70-9261-C2D173E4EDEF}" vid="{49ABD120-3A17-482D-B3C3-16429ECEE14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C0D1FEB3AD1E4C8A11428DA1845E27" ma:contentTypeVersion="11" ma:contentTypeDescription="Create a new document." ma:contentTypeScope="" ma:versionID="c0e5f2f9835143fee8638afc5e05e829">
  <xsd:schema xmlns:xsd="http://www.w3.org/2001/XMLSchema" xmlns:xs="http://www.w3.org/2001/XMLSchema" xmlns:p="http://schemas.microsoft.com/office/2006/metadata/properties" xmlns:ns2="e5e97ec2-f806-4c51-96fe-0d7d4d3b6574" xmlns:ns3="67a6c429-da2e-4048-9544-980a85bda17e" targetNamespace="http://schemas.microsoft.com/office/2006/metadata/properties" ma:root="true" ma:fieldsID="0f98325a50fd86786e40cd34590e8f45" ns2:_="" ns3:_="">
    <xsd:import namespace="e5e97ec2-f806-4c51-96fe-0d7d4d3b6574"/>
    <xsd:import namespace="67a6c429-da2e-4048-9544-980a85bda17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97ec2-f806-4c51-96fe-0d7d4d3b657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22204738-ce55-4faa-9b37-dcf87906b879}" ma:internalName="TaxCatchAll" ma:showField="CatchAllData" ma:web="e5e97ec2-f806-4c51-96fe-0d7d4d3b65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6c429-da2e-4048-9544-980a85bda1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9353dbe8-8260-4ccf-8219-3d2995e6fa1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7a6c429-da2e-4048-9544-980a85bda17e">
      <Terms xmlns="http://schemas.microsoft.com/office/infopath/2007/PartnerControls"/>
    </lcf76f155ced4ddcb4097134ff3c332f>
    <TaxCatchAll xmlns="e5e97ec2-f806-4c51-96fe-0d7d4d3b6574" xsi:nil="true"/>
    <SharedWithUsers xmlns="e5e97ec2-f806-4c51-96fe-0d7d4d3b6574">
      <UserInfo>
        <DisplayName>Kieval, Natasha (CDC/DDPHSS/OD)</DisplayName>
        <AccountId>70</AccountId>
        <AccountType/>
      </UserInfo>
      <UserInfo>
        <DisplayName>Neitzel, Stephanie (CDC/DDPHSS/OD)</DisplayName>
        <AccountId>67</AccountId>
        <AccountType/>
      </UserInfo>
      <UserInfo>
        <DisplayName>Warner, Agnes (CDC/DDPHSS/OD)</DisplayName>
        <AccountId>129</AccountId>
        <AccountType/>
      </UserInfo>
      <UserInfo>
        <DisplayName>Mann, Taylor (CDC/DDPHSS/OD)</DisplayName>
        <AccountId>72</AccountId>
        <AccountType/>
      </UserInfo>
      <UserInfo>
        <DisplayName>Broughton, Latwanda (CDC/DDPHSS/OD)</DisplayName>
        <AccountId>141</AccountId>
        <AccountType/>
      </UserInfo>
      <UserInfo>
        <DisplayName>Williams, Paula O. (CDC/DDPHSS/OD)</DisplayName>
        <AccountId>1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99DC72CE-8C41-4959-8567-994F21860178}">
  <ds:schemaRefs>
    <ds:schemaRef ds:uri="67a6c429-da2e-4048-9544-980a85bda17e"/>
    <ds:schemaRef ds:uri="e5e97ec2-f806-4c51-96fe-0d7d4d3b657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35C6FC6-609C-4447-9524-3E48C95AA1D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44982E7-377C-40C9-8108-E89EBF27A431}">
  <ds:schemaRefs>
    <ds:schemaRef ds:uri="67a6c429-da2e-4048-9544-980a85bda17e"/>
    <ds:schemaRef ds:uri="e5e97ec2-f806-4c51-96fe-0d7d4d3b657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7</Slides>
  <Notes>7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7</vt:i4>
      </vt:variant>
    </vt:vector>
  </HeadingPairs>
  <TitlesOfParts>
    <vt:vector size="10" baseType="lpstr">
      <vt:lpstr>office theme</vt:lpstr>
      <vt:lpstr>Guidehouse Haas Standard</vt:lpstr>
      <vt:lpstr>White</vt:lpstr>
      <vt:lpstr>OPHDST Leadership Update NCHS Board of Scientific Counselors  September 2023</vt:lpstr>
      <vt:lpstr>How the Public Health Data Strategy fits within DMI</vt:lpstr>
      <vt:lpstr>Four major Public Health Data Goals enable the core public health missions </vt:lpstr>
      <vt:lpstr>Public Health Data Goals drive key outcomes over the next 2 years</vt:lpstr>
      <vt:lpstr>PHDS Progress To-Date (1 of 2)</vt:lpstr>
      <vt:lpstr>PHDS Progress To-Date (2 of 2)</vt:lpstr>
      <vt:lpstr>Dr. Cohen’s Priorities and How OPHDST is Support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1</cp:revision>
  <dcterms:created xsi:type="dcterms:W3CDTF">2023-08-29T15:11:42Z</dcterms:created>
  <dcterms:modified xsi:type="dcterms:W3CDTF">2023-08-31T18:1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C0D1FEB3AD1E4C8A11428DA1845E27</vt:lpwstr>
  </property>
  <property fmtid="{D5CDD505-2E9C-101B-9397-08002B2CF9AE}" pid="3" name="MSIP_Label_7b94a7b8-f06c-4dfe-bdcc-9b548fd58c31_Enabled">
    <vt:lpwstr>true</vt:lpwstr>
  </property>
  <property fmtid="{D5CDD505-2E9C-101B-9397-08002B2CF9AE}" pid="4" name="MSIP_Label_7b94a7b8-f06c-4dfe-bdcc-9b548fd58c31_SetDate">
    <vt:lpwstr>2023-08-29T15:12:05Z</vt:lpwstr>
  </property>
  <property fmtid="{D5CDD505-2E9C-101B-9397-08002B2CF9AE}" pid="5" name="MSIP_Label_7b94a7b8-f06c-4dfe-bdcc-9b548fd58c31_Method">
    <vt:lpwstr>Privileged</vt:lpwstr>
  </property>
  <property fmtid="{D5CDD505-2E9C-101B-9397-08002B2CF9AE}" pid="6" name="MSIP_Label_7b94a7b8-f06c-4dfe-bdcc-9b548fd58c31_Name">
    <vt:lpwstr>7b94a7b8-f06c-4dfe-bdcc-9b548fd58c31</vt:lpwstr>
  </property>
  <property fmtid="{D5CDD505-2E9C-101B-9397-08002B2CF9AE}" pid="7" name="MSIP_Label_7b94a7b8-f06c-4dfe-bdcc-9b548fd58c31_SiteId">
    <vt:lpwstr>9ce70869-60db-44fd-abe8-d2767077fc8f</vt:lpwstr>
  </property>
  <property fmtid="{D5CDD505-2E9C-101B-9397-08002B2CF9AE}" pid="8" name="MSIP_Label_7b94a7b8-f06c-4dfe-bdcc-9b548fd58c31_ActionId">
    <vt:lpwstr>ce8e4970-ff9b-4921-babc-5763dc83bccb</vt:lpwstr>
  </property>
  <property fmtid="{D5CDD505-2E9C-101B-9397-08002B2CF9AE}" pid="9" name="MSIP_Label_7b94a7b8-f06c-4dfe-bdcc-9b548fd58c31_ContentBits">
    <vt:lpwstr>0</vt:lpwstr>
  </property>
  <property fmtid="{D5CDD505-2E9C-101B-9397-08002B2CF9AE}" pid="10" name="MediaServiceImageTags">
    <vt:lpwstr/>
  </property>
</Properties>
</file>